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3" r:id="rId4"/>
  </p:sldMasterIdLst>
  <p:notesMasterIdLst>
    <p:notesMasterId r:id="rId26"/>
  </p:notesMasterIdLst>
  <p:handoutMasterIdLst>
    <p:handoutMasterId r:id="rId27"/>
  </p:handoutMasterIdLst>
  <p:sldIdLst>
    <p:sldId id="561" r:id="rId5"/>
    <p:sldId id="579" r:id="rId6"/>
    <p:sldId id="562" r:id="rId7"/>
    <p:sldId id="563" r:id="rId8"/>
    <p:sldId id="564" r:id="rId9"/>
    <p:sldId id="565" r:id="rId10"/>
    <p:sldId id="566" r:id="rId11"/>
    <p:sldId id="567" r:id="rId12"/>
    <p:sldId id="568" r:id="rId13"/>
    <p:sldId id="578" r:id="rId14"/>
    <p:sldId id="569" r:id="rId15"/>
    <p:sldId id="570" r:id="rId16"/>
    <p:sldId id="571" r:id="rId17"/>
    <p:sldId id="572" r:id="rId18"/>
    <p:sldId id="573" r:id="rId19"/>
    <p:sldId id="574" r:id="rId20"/>
    <p:sldId id="575" r:id="rId21"/>
    <p:sldId id="576" r:id="rId22"/>
    <p:sldId id="556" r:id="rId23"/>
    <p:sldId id="558" r:id="rId24"/>
    <p:sldId id="559" r:id="rId25"/>
  </p:sldIdLst>
  <p:sldSz cx="9144000" cy="6858000" type="screen4x3"/>
  <p:notesSz cx="6797675" cy="9928225"/>
  <p:custDataLst>
    <p:tags r:id="rId28"/>
  </p:custDataLst>
  <p:defaultTextStyle>
    <a:defPPr>
      <a:defRPr lang="en-US"/>
    </a:defPPr>
    <a:lvl1pPr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32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32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32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32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239" userDrawn="1">
          <p15:clr>
            <a:srgbClr val="A4A3A4"/>
          </p15:clr>
        </p15:guide>
        <p15:guide id="2" orient="horz" pos="2888" userDrawn="1">
          <p15:clr>
            <a:srgbClr val="A4A3A4"/>
          </p15:clr>
        </p15:guide>
        <p15:guide id="3" orient="horz" pos="3024" userDrawn="1">
          <p15:clr>
            <a:srgbClr val="A4A3A4"/>
          </p15:clr>
        </p15:guide>
        <p15:guide id="4" orient="horz" pos="3162" userDrawn="1">
          <p15:clr>
            <a:srgbClr val="A4A3A4"/>
          </p15:clr>
        </p15:guide>
        <p15:guide id="5" orient="horz" pos="3368" userDrawn="1">
          <p15:clr>
            <a:srgbClr val="A4A3A4"/>
          </p15:clr>
        </p15:guide>
        <p15:guide id="6" orient="horz" pos="4233" userDrawn="1">
          <p15:clr>
            <a:srgbClr val="A4A3A4"/>
          </p15:clr>
        </p15:guide>
        <p15:guide id="7" orient="horz" pos="2160" userDrawn="1">
          <p15:clr>
            <a:srgbClr val="A4A3A4"/>
          </p15:clr>
        </p15:guide>
        <p15:guide id="8" orient="horz" pos="2008" userDrawn="1">
          <p15:clr>
            <a:srgbClr val="A4A3A4"/>
          </p15:clr>
        </p15:guide>
        <p15:guide id="9" orient="horz" pos="968" userDrawn="1">
          <p15:clr>
            <a:srgbClr val="A4A3A4"/>
          </p15:clr>
        </p15:guide>
        <p15:guide id="10" pos="317" userDrawn="1">
          <p15:clr>
            <a:srgbClr val="A4A3A4"/>
          </p15:clr>
        </p15:guide>
        <p15:guide id="11" pos="1594" userDrawn="1">
          <p15:clr>
            <a:srgbClr val="A4A3A4"/>
          </p15:clr>
        </p15:guide>
        <p15:guide id="12" pos="5529" userDrawn="1">
          <p15:clr>
            <a:srgbClr val="A4A3A4"/>
          </p15:clr>
        </p15:guide>
        <p15:guide id="13" pos="1598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 userDrawn="1">
          <p15:clr>
            <a:srgbClr val="A4A3A4"/>
          </p15:clr>
        </p15:guide>
        <p15:guide id="2" pos="2204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phanie.m.olla" initials="so" lastIdx="9" clrIdx="0"/>
  <p:cmAuthor id="1" name="sabitha nair" initials="sn" lastIdx="5" clrIdx="1">
    <p:extLst/>
  </p:cmAuthor>
  <p:cmAuthor id="2" name="Bagmar, Jai" initials="BJ" lastIdx="9" clrIdx="2"/>
  <p:cmAuthor id="3" name="Hayward, Douglas" initials="DTH" lastIdx="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94C3"/>
    <a:srgbClr val="AADDEE"/>
    <a:srgbClr val="FF6600"/>
    <a:srgbClr val="269238"/>
    <a:srgbClr val="003344"/>
    <a:srgbClr val="66AA44"/>
    <a:srgbClr val="001B4D"/>
    <a:srgbClr val="937D3F"/>
    <a:srgbClr val="6BB248"/>
    <a:srgbClr val="CCBB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388" autoAdjust="0"/>
    <p:restoredTop sz="94434" autoAdjust="0"/>
  </p:normalViewPr>
  <p:slideViewPr>
    <p:cSldViewPr snapToGrid="0" snapToObjects="1" showGuides="1">
      <p:cViewPr varScale="1">
        <p:scale>
          <a:sx n="82" d="100"/>
          <a:sy n="82" d="100"/>
        </p:scale>
        <p:origin x="-96" y="-540"/>
      </p:cViewPr>
      <p:guideLst>
        <p:guide orient="horz" pos="1239"/>
        <p:guide orient="horz" pos="2888"/>
        <p:guide orient="horz" pos="3024"/>
        <p:guide orient="horz" pos="3162"/>
        <p:guide orient="horz" pos="3368"/>
        <p:guide orient="horz" pos="4233"/>
        <p:guide orient="horz" pos="2160"/>
        <p:guide orient="horz" pos="2008"/>
        <p:guide orient="horz" pos="968"/>
        <p:guide pos="317"/>
        <p:guide pos="1594"/>
        <p:guide pos="5529"/>
        <p:guide pos="1598"/>
      </p:guideLst>
    </p:cSldViewPr>
  </p:slideViewPr>
  <p:outlineViewPr>
    <p:cViewPr>
      <p:scale>
        <a:sx n="33" d="100"/>
        <a:sy n="33" d="100"/>
      </p:scale>
      <p:origin x="0" y="3453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52" d="100"/>
          <a:sy n="52" d="100"/>
        </p:scale>
        <p:origin x="2958" y="96"/>
      </p:cViewPr>
      <p:guideLst>
        <p:guide orient="horz" pos="2880"/>
        <p:guide orient="horz" pos="3128"/>
        <p:guide pos="2204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67084"/>
            <a:ext cx="3398838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200" b="0"/>
            </a:lvl1pPr>
          </a:lstStyle>
          <a:p>
            <a:r>
              <a:rPr lang="en-US" sz="1000" dirty="0"/>
              <a:t>Products: Automotive, Industrial, Infrastructure &amp; Travel</a:t>
            </a:r>
          </a:p>
        </p:txBody>
      </p:sp>
      <p:sp>
        <p:nvSpPr>
          <p:cNvPr id="4813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443" y="67084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sz="1200" b="0"/>
            </a:lvl1pPr>
          </a:lstStyle>
          <a:p>
            <a:fld id="{3E82913B-684B-45AA-BEFB-87506F44402E}" type="datetime1">
              <a:rPr lang="en-US" sz="1000"/>
              <a:pPr/>
              <a:t>9/16/2016</a:t>
            </a:fld>
            <a:endParaRPr lang="en-US" sz="1000" dirty="0"/>
          </a:p>
        </p:txBody>
      </p:sp>
      <p:sp>
        <p:nvSpPr>
          <p:cNvPr id="4813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63007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200" b="0"/>
            </a:lvl1pPr>
          </a:lstStyle>
          <a:p>
            <a:r>
              <a:rPr lang="en-US" sz="1000" dirty="0"/>
              <a:t>Copyright © 2009 Accenture All Rights Reserved.</a:t>
            </a:r>
          </a:p>
        </p:txBody>
      </p:sp>
      <p:sp>
        <p:nvSpPr>
          <p:cNvPr id="4813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443" y="9363007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b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sz="1200" b="0"/>
            </a:lvl1pPr>
          </a:lstStyle>
          <a:p>
            <a:fld id="{FA028DC5-776A-458E-8C28-9823E1AC2C40}" type="slidenum">
              <a:rPr lang="en-US" sz="1000"/>
              <a:pPr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585760134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67084"/>
            <a:ext cx="3398838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000" b="0"/>
            </a:lvl1pPr>
          </a:lstStyle>
          <a:p>
            <a:r>
              <a:rPr lang="en-US" dirty="0" smtClean="0"/>
              <a:t>Products: Automotive, Industrial, Infrastructure &amp; Travel</a:t>
            </a:r>
            <a:endParaRPr lang="en-US" dirty="0"/>
          </a:p>
        </p:txBody>
      </p:sp>
      <p:sp>
        <p:nvSpPr>
          <p:cNvPr id="4403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67084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sz="1000" b="0"/>
            </a:lvl1pPr>
          </a:lstStyle>
          <a:p>
            <a:fld id="{EF0961F8-5312-4593-A8E0-89411A6E4F80}" type="datetime1">
              <a:rPr lang="en-US" smtClean="0"/>
              <a:pPr/>
              <a:t>9/16/2016</a:t>
            </a:fld>
            <a:endParaRPr lang="en-US" dirty="0"/>
          </a:p>
        </p:txBody>
      </p:sp>
      <p:sp>
        <p:nvSpPr>
          <p:cNvPr id="440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4403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907"/>
            <a:ext cx="5438140" cy="4467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403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63007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000" b="0"/>
            </a:lvl1pPr>
          </a:lstStyle>
          <a:p>
            <a:r>
              <a:rPr lang="en-US" dirty="0" smtClean="0"/>
              <a:t>Copyright © 2009 Accenture All Rights Reserved.</a:t>
            </a:r>
            <a:endParaRPr lang="en-US" dirty="0"/>
          </a:p>
        </p:txBody>
      </p:sp>
      <p:sp>
        <p:nvSpPr>
          <p:cNvPr id="4403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363007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b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sz="1000" b="0"/>
            </a:lvl1pPr>
          </a:lstStyle>
          <a:p>
            <a:fld id="{AA9165B6-BC07-4CA1-B14C-0486958E4CE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1332093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114300" indent="-114300" algn="l" rtl="0" fontAlgn="base">
      <a:spcBef>
        <a:spcPct val="30000"/>
      </a:spcBef>
      <a:spcAft>
        <a:spcPct val="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228600" indent="-114300" algn="l" rtl="0" fontAlgn="base">
      <a:spcBef>
        <a:spcPct val="30000"/>
      </a:spcBef>
      <a:spcAft>
        <a:spcPct val="0"/>
      </a:spcAft>
      <a:buFont typeface="Arial" pitchFamily="34" charset="0"/>
      <a:buChar char="–"/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342900" indent="-114300" algn="l" rtl="0" fontAlgn="base">
      <a:spcBef>
        <a:spcPct val="30000"/>
      </a:spcBef>
      <a:spcAft>
        <a:spcPct val="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457200" indent="-114300" algn="l" rtl="0" fontAlgn="base">
      <a:spcBef>
        <a:spcPct val="30000"/>
      </a:spcBef>
      <a:spcAft>
        <a:spcPct val="0"/>
      </a:spcAft>
      <a:buFont typeface="Arial" pitchFamily="34" charset="0"/>
      <a:buChar char="–"/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571500" indent="-114300" algn="l" rtl="0" fontAlgn="base">
      <a:spcBef>
        <a:spcPct val="30000"/>
      </a:spcBef>
      <a:spcAft>
        <a:spcPct val="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42A009A-C4AC-4274-BCC6-35D100FBA777}" type="slidenum">
              <a:rPr lang="en-US"/>
              <a:pPr/>
              <a:t>0</a:t>
            </a:fld>
            <a:endParaRPr lang="en-US" dirty="0"/>
          </a:p>
        </p:txBody>
      </p:sp>
      <p:sp>
        <p:nvSpPr>
          <p:cNvPr id="450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4113" cy="3722687"/>
          </a:xfrm>
          <a:ln/>
        </p:spPr>
      </p:sp>
      <p:sp>
        <p:nvSpPr>
          <p:cNvPr id="450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390537BA-9856-4466-9DAC-8C24BD0BD89A}" type="datetime1">
              <a:rPr lang="en-US" smtClean="0"/>
              <a:pPr/>
              <a:t>9/16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pyright © 2009 Accenture All Rights Reserved.</a:t>
            </a:r>
            <a:endParaRPr lang="en-US" dirty="0"/>
          </a:p>
        </p:txBody>
      </p:sp>
      <p:sp>
        <p:nvSpPr>
          <p:cNvPr id="8" name="Header Placeholder 7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 smtClean="0"/>
              <a:t>Quality &amp; Client Satisfa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55045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2CC9EA0-44CE-4833-B605-3A097C756F49}" type="slidenum">
              <a:rPr lang="en-US" smtClean="0"/>
              <a:pPr/>
              <a:t>2</a:t>
            </a:fld>
            <a:endParaRPr lang="en-US" dirty="0" smtClean="0"/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2950"/>
            <a:ext cx="4967287" cy="3724275"/>
          </a:xfrm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748" y="4716867"/>
            <a:ext cx="4986182" cy="4467875"/>
          </a:xfrm>
          <a:noFill/>
          <a:ln/>
        </p:spPr>
        <p:txBody>
          <a:bodyPr/>
          <a:lstStyle/>
          <a:p>
            <a:pPr marL="230475" indent="-230475">
              <a:buAutoNum type="arabicPeriod"/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408530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shutterstock_156983879 (1)_alt.jpg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" contrast="1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033" r="2860" b="3216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458788" y="1250769"/>
            <a:ext cx="4113212" cy="9430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461966" y="2307557"/>
            <a:ext cx="4110037" cy="615553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9" name="Picture 18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8313" y="434670"/>
            <a:ext cx="4543200" cy="72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oup 19"/>
          <p:cNvGrpSpPr/>
          <p:nvPr userDrawn="1"/>
        </p:nvGrpSpPr>
        <p:grpSpPr>
          <a:xfrm>
            <a:off x="5658098" y="3690908"/>
            <a:ext cx="3074395" cy="2060440"/>
            <a:chOff x="5701703" y="682760"/>
            <a:chExt cx="3074395" cy="2060440"/>
          </a:xfrm>
        </p:grpSpPr>
        <p:sp>
          <p:nvSpPr>
            <p:cNvPr id="21" name="Freeform 20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3200" dirty="0"/>
            </a:p>
          </p:txBody>
        </p:sp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495103" y="6150009"/>
            <a:ext cx="5334462" cy="49381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680A387-8F22-40D2-A1D6-12069FE744E2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8538D73-221F-4AD8-9AA4-472AF34246F2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6"/>
            <a:ext cx="3008313" cy="90439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52FF34A-C031-4841-B977-68BD294405A0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6FFF099-79C6-43A2-814E-9876B9DA24A7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0E1F3C6-7755-4C1E-A444-85B11B2202A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1628" y="114306"/>
            <a:ext cx="2125663" cy="620871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74641" y="114306"/>
            <a:ext cx="6224587" cy="620871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7E12910-5892-4482-81F5-0964B71CBEA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55616" y="1180800"/>
            <a:ext cx="8232775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2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55616" y="1576800"/>
            <a:ext cx="8232775" cy="491430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AU" dirty="0" smtClean="0"/>
              <a:t>Copyright © 2015 Accenture  All rights reserved.</a:t>
            </a:r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566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143" b="13863"/>
          <a:stretch/>
        </p:blipFill>
        <p:spPr>
          <a:xfrm>
            <a:off x="0" y="1"/>
            <a:ext cx="9144000" cy="68580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 bwMode="auto">
          <a:xfrm>
            <a:off x="0" y="3"/>
            <a:ext cx="9144000" cy="6858001"/>
          </a:xfrm>
          <a:prstGeom prst="rect">
            <a:avLst/>
          </a:prstGeom>
          <a:solidFill>
            <a:schemeClr val="bg1">
              <a:alpha val="38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195" y="443351"/>
            <a:ext cx="8395094" cy="2287155"/>
          </a:xfrm>
        </p:spPr>
        <p:txBody>
          <a:bodyPr anchor="b" anchorCtr="0"/>
          <a:lstStyle>
            <a:lvl1pPr algn="l">
              <a:defRPr sz="3600" b="1" cap="none" baseline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73954299-DE52-47A8-A04E-69FC1668FE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8234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hutterstock_156983879 (1)_alt.jpg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" contrast="1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033" t="18640" r="2860" b="62003"/>
          <a:stretch/>
        </p:blipFill>
        <p:spPr>
          <a:xfrm>
            <a:off x="0" y="0"/>
            <a:ext cx="9144000" cy="1371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061" y="129310"/>
            <a:ext cx="8380228" cy="10481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83" y="1590806"/>
            <a:ext cx="8565405" cy="47770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341B97A-378E-4F69-9D74-E5B0730D91F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5000" y="6324600"/>
            <a:ext cx="4489450" cy="457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8920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hutterstock_156983879 (1)_alt.jpg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" contrast="1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033" t="18640" r="2860" b="62003"/>
          <a:stretch/>
        </p:blipFill>
        <p:spPr>
          <a:xfrm>
            <a:off x="0" y="0"/>
            <a:ext cx="9144000" cy="1371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061" y="129310"/>
            <a:ext cx="8380228" cy="10481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83" y="1590806"/>
            <a:ext cx="8565405" cy="47770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341B97A-378E-4F69-9D74-E5B0730D91F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5000" y="6324600"/>
            <a:ext cx="4489450" cy="457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1319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143" b="13863"/>
          <a:stretch/>
        </p:blipFill>
        <p:spPr>
          <a:xfrm>
            <a:off x="-2432" y="0"/>
            <a:ext cx="9144000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-95250" y="6"/>
            <a:ext cx="9232900" cy="6946901"/>
          </a:xfrm>
          <a:prstGeom prst="rect">
            <a:avLst/>
          </a:prstGeom>
          <a:solidFill>
            <a:schemeClr val="bg1">
              <a:alpha val="29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061" y="129310"/>
            <a:ext cx="8380228" cy="1048138"/>
          </a:xfrm>
        </p:spPr>
        <p:txBody>
          <a:bodyPr/>
          <a:lstStyle>
            <a:lvl1pPr>
              <a:defRPr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83" y="1590806"/>
            <a:ext cx="8565405" cy="47770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341B97A-378E-4F69-9D74-E5B0730D91F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5000" y="6324600"/>
            <a:ext cx="4489450" cy="457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72538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061" y="129310"/>
            <a:ext cx="8380228" cy="104813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83" y="1590806"/>
            <a:ext cx="8565405" cy="47770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341B97A-378E-4F69-9D74-E5B0730D91FC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5000" y="6324600"/>
            <a:ext cx="4489450" cy="457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195" y="443345"/>
            <a:ext cx="8395094" cy="2882895"/>
          </a:xfrm>
        </p:spPr>
        <p:txBody>
          <a:bodyPr anchor="b" anchorCtr="0"/>
          <a:lstStyle>
            <a:lvl1pPr algn="l">
              <a:defRPr sz="36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954299-DE52-47A8-A04E-69FC1668FE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062" y="129310"/>
            <a:ext cx="8326438" cy="109824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1882" y="1597868"/>
            <a:ext cx="4197096" cy="4523800"/>
          </a:xfrm>
        </p:spPr>
        <p:txBody>
          <a:bodyPr/>
          <a:lstStyle>
            <a:lvl1pPr>
              <a:lnSpc>
                <a:spcPct val="90000"/>
              </a:lnSpc>
              <a:defRPr sz="2400"/>
            </a:lvl1pPr>
            <a:lvl2pPr>
              <a:lnSpc>
                <a:spcPct val="90000"/>
              </a:lnSpc>
              <a:defRPr sz="2000"/>
            </a:lvl2pPr>
            <a:lvl3pPr>
              <a:lnSpc>
                <a:spcPct val="90000"/>
              </a:lnSpc>
              <a:defRPr sz="1800"/>
            </a:lvl3pPr>
            <a:lvl4pPr>
              <a:lnSpc>
                <a:spcPct val="90000"/>
              </a:lnSpc>
              <a:defRPr sz="1600"/>
            </a:lvl4pPr>
            <a:lvl5pPr>
              <a:lnSpc>
                <a:spcPct val="90000"/>
              </a:lnSpc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80968" y="1597868"/>
            <a:ext cx="4196323" cy="4523800"/>
          </a:xfrm>
        </p:spPr>
        <p:txBody>
          <a:bodyPr/>
          <a:lstStyle>
            <a:lvl1pPr>
              <a:lnSpc>
                <a:spcPct val="90000"/>
              </a:lnSpc>
              <a:defRPr sz="2400"/>
            </a:lvl1pPr>
            <a:lvl2pPr>
              <a:lnSpc>
                <a:spcPct val="90000"/>
              </a:lnSpc>
              <a:defRPr sz="2000"/>
            </a:lvl2pPr>
            <a:lvl3pPr>
              <a:lnSpc>
                <a:spcPct val="90000"/>
              </a:lnSpc>
              <a:defRPr sz="1800"/>
            </a:lvl3pPr>
            <a:lvl4pPr>
              <a:lnSpc>
                <a:spcPct val="90000"/>
              </a:lnSpc>
              <a:defRPr sz="1600"/>
            </a:lvl4pPr>
            <a:lvl5pPr>
              <a:lnSpc>
                <a:spcPct val="90000"/>
              </a:lnSpc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4E42313-9B81-4CBD-9AA5-E77005079161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4267" y="233088"/>
            <a:ext cx="8383022" cy="96941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3413" y="1595057"/>
            <a:ext cx="4025155" cy="639762"/>
          </a:xfrm>
        </p:spPr>
        <p:txBody>
          <a:bodyPr anchor="b"/>
          <a:lstStyle>
            <a:lvl1pPr marL="0" indent="0">
              <a:lnSpc>
                <a:spcPts val="2600"/>
              </a:lnSpc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5145" y="2234819"/>
            <a:ext cx="42134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95057"/>
            <a:ext cx="4132263" cy="63976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465728" y="2234819"/>
            <a:ext cx="431156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682A44A-3769-4E22-A0B6-AFBEA565A1A3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opyright © 2015 Accenture All Rights Reserved.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505022885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07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4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11883" y="1590806"/>
            <a:ext cx="8565405" cy="477703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485" name="Rectangle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7164388" y="6511931"/>
            <a:ext cx="1693862" cy="2698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lvl1pPr algn="r">
              <a:defRPr sz="900" b="0"/>
            </a:lvl1pPr>
          </a:lstStyle>
          <a:p>
            <a:fld id="{46E3B560-07B0-4853-AE85-4967240282D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486" name="Rectangle 6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458790" y="6324600"/>
            <a:ext cx="4489450" cy="457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900" b="0"/>
            </a:lvl1pPr>
          </a:lstStyle>
          <a:p>
            <a:r>
              <a:rPr lang="en-GB" dirty="0" smtClean="0"/>
              <a:t>Copyright © 2015 Accenture. All rights reserved. Confidential—For Company Internal Use Only.</a:t>
            </a:r>
            <a:endParaRPr lang="en-US" dirty="0"/>
          </a:p>
        </p:txBody>
      </p:sp>
      <p:sp>
        <p:nvSpPr>
          <p:cNvPr id="20487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397061" y="191945"/>
            <a:ext cx="8380228" cy="99803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995" y="1289646"/>
            <a:ext cx="8686006" cy="0"/>
          </a:xfrm>
          <a:prstGeom prst="line">
            <a:avLst/>
          </a:prstGeom>
          <a:ln w="12700">
            <a:solidFill>
              <a:srgbClr val="359B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64" r:id="rId1"/>
    <p:sldLayoutId id="2147483861" r:id="rId2"/>
    <p:sldLayoutId id="2147483859" r:id="rId3"/>
    <p:sldLayoutId id="2147483862" r:id="rId4"/>
    <p:sldLayoutId id="2147483860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819" r:id="rId16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189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377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566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754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176209" indent="-176209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chemeClr val="tx1"/>
        </a:buClr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466714" indent="-285744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latin typeface="+mn-lt"/>
        </a:defRPr>
      </a:lvl2pPr>
      <a:lvl3pPr marL="630223" indent="-168270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3pPr>
      <a:lvl4pPr marL="869929" indent="-227008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–"/>
        <a:defRPr sz="1800">
          <a:solidFill>
            <a:schemeClr val="tx1"/>
          </a:solidFill>
          <a:latin typeface="+mn-lt"/>
        </a:defRPr>
      </a:lvl4pPr>
      <a:lvl5pPr marL="1042962" indent="-166684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800">
          <a:solidFill>
            <a:schemeClr val="tx1"/>
          </a:solidFill>
          <a:latin typeface="+mn-lt"/>
        </a:defRPr>
      </a:lvl5pPr>
      <a:lvl6pPr marL="1938290" indent="-166684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6pPr>
      <a:lvl7pPr marL="2395479" indent="-166684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7pPr>
      <a:lvl8pPr marL="2852667" indent="-166684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8pPr>
      <a:lvl9pPr marL="3309856" indent="-166684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6891" y="1602028"/>
            <a:ext cx="5175205" cy="1062315"/>
          </a:xfrm>
        </p:spPr>
        <p:txBody>
          <a:bodyPr/>
          <a:lstStyle/>
          <a:p>
            <a:r>
              <a:rPr lang="en-PH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vOps Project Simulation</a:t>
            </a:r>
            <a:endParaRPr lang="en-US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406887" y="2664343"/>
            <a:ext cx="7259188" cy="753071"/>
          </a:xfrm>
        </p:spPr>
        <p:txBody>
          <a:bodyPr/>
          <a:lstStyle/>
          <a:p>
            <a:pPr marL="0" indent="0">
              <a:buNone/>
            </a:pPr>
            <a:r>
              <a:rPr lang="en-US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HOOL SCHEDULE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753985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2845" y="3512127"/>
            <a:ext cx="8565405" cy="2398512"/>
          </a:xfrm>
        </p:spPr>
        <p:txBody>
          <a:bodyPr/>
          <a:lstStyle/>
          <a:p>
            <a:r>
              <a:rPr lang="en-US" dirty="0"/>
              <a:t>Jenkins is an open source continuous integration tool written in Java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pic>
        <p:nvPicPr>
          <p:cNvPr id="6" name="Picture 2" descr="C:\Users\giomhel.g.c.motos\Downloads\logo+titl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2289080"/>
            <a:ext cx="2912938" cy="936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11880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061" y="3616036"/>
            <a:ext cx="8565405" cy="1724891"/>
          </a:xfrm>
        </p:spPr>
        <p:txBody>
          <a:bodyPr/>
          <a:lstStyle/>
          <a:p>
            <a:r>
              <a:rPr lang="en-US" dirty="0" err="1"/>
              <a:t>GitLab</a:t>
            </a:r>
            <a:r>
              <a:rPr lang="en-US" dirty="0"/>
              <a:t> is an application to code, test, and deploy code together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pic>
        <p:nvPicPr>
          <p:cNvPr id="6" name="Picture 3" descr="C:\Users\giomhel.g.c.motos\Downloads\GitLab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3991" y="2266133"/>
            <a:ext cx="2390272" cy="849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68847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83" y="3761509"/>
            <a:ext cx="8565405" cy="1683327"/>
          </a:xfrm>
        </p:spPr>
        <p:txBody>
          <a:bodyPr/>
          <a:lstStyle/>
          <a:p>
            <a:pPr marL="0" indent="0" algn="just">
              <a:buNone/>
            </a:pPr>
            <a:r>
              <a:rPr lang="en-PH" dirty="0"/>
              <a:t>Apache Maven is a software project management and comprehension tool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pic>
        <p:nvPicPr>
          <p:cNvPr id="6" name="Picture 2" descr="https://maven.apache.org/images/maven-logo-black-on-whit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2486" y="2506835"/>
            <a:ext cx="2435225" cy="615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12963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83" y="3512127"/>
            <a:ext cx="8565405" cy="1018309"/>
          </a:xfrm>
        </p:spPr>
        <p:txBody>
          <a:bodyPr/>
          <a:lstStyle/>
          <a:p>
            <a:pPr marL="0" indent="0" algn="just">
              <a:buNone/>
            </a:pPr>
            <a:r>
              <a:rPr lang="en-US" dirty="0" err="1"/>
              <a:t>SonarQube</a:t>
            </a:r>
            <a:r>
              <a:rPr lang="en-US" dirty="0"/>
              <a:t> is an open source tool used to measure and analyze code qua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pic>
        <p:nvPicPr>
          <p:cNvPr id="6" name="Picture 2" descr="C:\Users\giomhel.g.c.motos\Downloads\sonarqube_logo_72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800" y="2054515"/>
            <a:ext cx="3657599" cy="1015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12541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83" y="3803073"/>
            <a:ext cx="8565405" cy="1371600"/>
          </a:xfrm>
        </p:spPr>
        <p:txBody>
          <a:bodyPr/>
          <a:lstStyle/>
          <a:p>
            <a:r>
              <a:rPr lang="en-US" dirty="0" err="1"/>
              <a:t>Ansible</a:t>
            </a:r>
            <a:r>
              <a:rPr lang="en-US" dirty="0"/>
              <a:t> is a software platform for managing and combining multi node software deployment, as well as ad-hoc changes in the execution and configuration management of a system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pic>
        <p:nvPicPr>
          <p:cNvPr id="6" name="Picture 2" descr="C:\Users\giomhel.g.c.motos\Downloads\ansibl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413" y="1980136"/>
            <a:ext cx="1407573" cy="140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36859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83" y="4010891"/>
            <a:ext cx="8565405" cy="2356948"/>
          </a:xfrm>
        </p:spPr>
        <p:txBody>
          <a:bodyPr/>
          <a:lstStyle/>
          <a:p>
            <a:r>
              <a:rPr lang="en-US" dirty="0"/>
              <a:t>Apache Tomcat, often referred to as Tomcat, is an open-source web server developed by the Apache Software Foundation (ASF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pic>
        <p:nvPicPr>
          <p:cNvPr id="6" name="Picture 2" descr="C:\Users\giomhel.g.c.motos\Downloads\1000px-Tomcat-logo.sv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1400" y="2383847"/>
            <a:ext cx="1913568" cy="1276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81457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83" y="4010891"/>
            <a:ext cx="8565405" cy="2356948"/>
          </a:xfrm>
        </p:spPr>
        <p:txBody>
          <a:bodyPr/>
          <a:lstStyle/>
          <a:p>
            <a:pPr marL="0" indent="0" algn="just">
              <a:buNone/>
            </a:pPr>
            <a:r>
              <a:rPr lang="en-GB" dirty="0"/>
              <a:t>Selenium is a free (open source) automated testing suite for web applications across different browsers and platforms</a:t>
            </a:r>
          </a:p>
          <a:p>
            <a:pPr marL="114300" indent="0" algn="just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pic>
        <p:nvPicPr>
          <p:cNvPr id="6" name="Picture 2" descr="C:\Users\giomhel.g.c.motos\Downloads\selenium-big-log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5200" y="2248592"/>
            <a:ext cx="1524000" cy="1379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17155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pic>
        <p:nvPicPr>
          <p:cNvPr id="41" name="Picture 40" descr="C:\Project_Simulation\Project_Simulation_Documentation\happy-construction-clien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3138" y="5533344"/>
            <a:ext cx="796550" cy="1011475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Rounded Rectangle 22"/>
          <p:cNvSpPr/>
          <p:nvPr/>
        </p:nvSpPr>
        <p:spPr>
          <a:xfrm>
            <a:off x="3205286" y="2772894"/>
            <a:ext cx="3399432" cy="2585792"/>
          </a:xfrm>
          <a:prstGeom prst="round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pic>
        <p:nvPicPr>
          <p:cNvPr id="24" name="Picture 23" descr="C:\Project_Simulation\Project_Simulation_Documentation\maven-logo-black-on-whit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9814" y="2963182"/>
            <a:ext cx="823715" cy="227604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Picture 24" descr="C:\Project_Simulation\Project_Simulation_Documentation\GitLab_Logo.svg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6759" y="2867125"/>
            <a:ext cx="509117" cy="512713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Picture 25" descr="C:\Project_Simulation\Project_Simulation_Documentation\Jenkins-You-Can-Take-th-Evening-Off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4999" y="3613723"/>
            <a:ext cx="654896" cy="1121589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6" descr="C:\Project_Simulation\Project_Simulation_Documentation\1507452.png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15"/>
          <a:stretch/>
        </p:blipFill>
        <p:spPr bwMode="auto">
          <a:xfrm>
            <a:off x="3311629" y="3939907"/>
            <a:ext cx="545008" cy="61274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8" name="Picture 27" descr="C:\Project_Simulation\Project_Simulation_Documentation\2000px-Tomcat-logo.svg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0355" y="5382365"/>
            <a:ext cx="903473" cy="656717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Picture 28" descr="C:\Project_Simulation\Project_Simulation_Documentation\sonarqube_logo_720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1722" y="4055884"/>
            <a:ext cx="1099764" cy="332466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Picture 29" descr="C:\Project_Simulation\Project_Simulation_Documentation\Seleniumlogo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0007" y="5382365"/>
            <a:ext cx="625651" cy="61854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6" name="Group 45"/>
          <p:cNvGrpSpPr/>
          <p:nvPr/>
        </p:nvGrpSpPr>
        <p:grpSpPr>
          <a:xfrm>
            <a:off x="2201674" y="3076101"/>
            <a:ext cx="1090016" cy="1868219"/>
            <a:chOff x="2201674" y="3203426"/>
            <a:chExt cx="1090016" cy="1868219"/>
          </a:xfrm>
        </p:grpSpPr>
        <p:grpSp>
          <p:nvGrpSpPr>
            <p:cNvPr id="45" name="Group 44"/>
            <p:cNvGrpSpPr/>
            <p:nvPr/>
          </p:nvGrpSpPr>
          <p:grpSpPr>
            <a:xfrm>
              <a:off x="2201674" y="3316534"/>
              <a:ext cx="1090016" cy="1755111"/>
              <a:chOff x="2201674" y="3316534"/>
              <a:chExt cx="1090016" cy="1755111"/>
            </a:xfrm>
          </p:grpSpPr>
          <p:sp>
            <p:nvSpPr>
              <p:cNvPr id="39" name="Rounded Rectangle 38"/>
              <p:cNvSpPr/>
              <p:nvPr/>
            </p:nvSpPr>
            <p:spPr>
              <a:xfrm>
                <a:off x="2201674" y="3316534"/>
                <a:ext cx="1090016" cy="1755111"/>
              </a:xfrm>
              <a:prstGeom prst="roundRect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pic>
            <p:nvPicPr>
              <p:cNvPr id="40" name="Picture 39" descr="C:\Project_Simulation\Project_Simulation_Documentation\Top-10-Best-Programmer-Jokes.png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>
                <a:off x="2088190" y="3919312"/>
                <a:ext cx="1292171" cy="66553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21" name="Text Box 70"/>
            <p:cNvSpPr txBox="1"/>
            <p:nvPr/>
          </p:nvSpPr>
          <p:spPr>
            <a:xfrm>
              <a:off x="2303362" y="3203426"/>
              <a:ext cx="901923" cy="29670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lnSpc>
                  <a:spcPct val="150000"/>
                </a:lnSpc>
                <a:spcAft>
                  <a:spcPts val="0"/>
                </a:spcAft>
              </a:pPr>
              <a:r>
                <a:rPr lang="en-US" sz="2000" b="1" dirty="0">
                  <a:ln>
                    <a:noFill/>
                  </a:ln>
                  <a:effectLst>
                    <a:outerShdw blurRad="41275" dist="20320" dir="1800000" algn="tl">
                      <a:srgbClr val="000000">
                        <a:alpha val="40000"/>
                      </a:srgbClr>
                    </a:outerShdw>
                  </a:effectLst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CI/CD</a:t>
              </a:r>
              <a:endParaRPr lang="en-US" sz="105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9" name="Down Arrow 8"/>
          <p:cNvSpPr/>
          <p:nvPr/>
        </p:nvSpPr>
        <p:spPr>
          <a:xfrm>
            <a:off x="3943538" y="2440967"/>
            <a:ext cx="242081" cy="449307"/>
          </a:xfrm>
          <a:prstGeom prst="downArrow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pic>
        <p:nvPicPr>
          <p:cNvPr id="10" name="Picture 9" descr="C:\Project_Simulation\Project_Simulation_Documentation\easset_upload_file488_14121_e.png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22" t="2941" r="3559" b="8623"/>
          <a:stretch/>
        </p:blipFill>
        <p:spPr bwMode="auto">
          <a:xfrm>
            <a:off x="3653406" y="1787196"/>
            <a:ext cx="851187" cy="57891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11" name="Group 10"/>
          <p:cNvGrpSpPr/>
          <p:nvPr/>
        </p:nvGrpSpPr>
        <p:grpSpPr>
          <a:xfrm>
            <a:off x="5015926" y="1504503"/>
            <a:ext cx="1575206" cy="1043788"/>
            <a:chOff x="0" y="0"/>
            <a:chExt cx="2257425" cy="1371600"/>
          </a:xfrm>
        </p:grpSpPr>
        <p:grpSp>
          <p:nvGrpSpPr>
            <p:cNvPr id="13" name="Group 12"/>
            <p:cNvGrpSpPr/>
            <p:nvPr/>
          </p:nvGrpSpPr>
          <p:grpSpPr>
            <a:xfrm>
              <a:off x="0" y="0"/>
              <a:ext cx="2257425" cy="1371600"/>
              <a:chOff x="0" y="0"/>
              <a:chExt cx="2257425" cy="1371600"/>
            </a:xfrm>
          </p:grpSpPr>
          <p:sp>
            <p:nvSpPr>
              <p:cNvPr id="18" name="Rounded Rectangle 17"/>
              <p:cNvSpPr/>
              <p:nvPr/>
            </p:nvSpPr>
            <p:spPr>
              <a:xfrm>
                <a:off x="0" y="0"/>
                <a:ext cx="2257425" cy="1371600"/>
              </a:xfrm>
              <a:prstGeom prst="roundRec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" name="Text Box 1"/>
              <p:cNvSpPr txBox="1"/>
              <p:nvPr/>
            </p:nvSpPr>
            <p:spPr>
              <a:xfrm>
                <a:off x="66675" y="38100"/>
                <a:ext cx="2088515" cy="561975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rot="0" spcFirstLastPara="0" vert="horz" wrap="non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algn="ctr">
                  <a:lnSpc>
                    <a:spcPct val="150000"/>
                  </a:lnSpc>
                  <a:spcAft>
                    <a:spcPts val="0"/>
                  </a:spcAft>
                </a:pPr>
                <a:r>
                  <a:rPr lang="en-US" sz="1400" b="1" dirty="0">
                    <a:ln>
                      <a:noFill/>
                    </a:ln>
                    <a:effectLst>
                      <a:outerShdw blurRad="41275" dist="20320" dir="1800000" algn="tl">
                        <a:srgbClr val="000000">
                          <a:alpha val="40000"/>
                        </a:srgbClr>
                      </a:outerShdw>
                    </a:effectLst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Developers</a:t>
                </a:r>
                <a:endParaRPr lang="en-US" sz="6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104775" y="590550"/>
              <a:ext cx="2076450" cy="685800"/>
              <a:chOff x="0" y="0"/>
              <a:chExt cx="2076450" cy="685800"/>
            </a:xfrm>
          </p:grpSpPr>
          <p:pic>
            <p:nvPicPr>
              <p:cNvPr id="15" name="Picture 14" descr="C:\Project_Simulation\Project_Simulation_Documentation\Cara_jadi_Programer.png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0" y="0"/>
                <a:ext cx="676275" cy="6858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6" name="Picture 15" descr="C:\Project_Simulation\Project_Simulation_Documentation\Cara_jadi_Programer.png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5325" y="0"/>
                <a:ext cx="676275" cy="6858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7" name="Picture 16" descr="C:\Project_Simulation\Project_Simulation_Documentation\Cara_jadi_Programer.png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00175" y="0"/>
                <a:ext cx="676275" cy="6858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44" name="Down Arrow 43"/>
          <p:cNvSpPr/>
          <p:nvPr/>
        </p:nvSpPr>
        <p:spPr>
          <a:xfrm rot="20236376">
            <a:off x="3547276" y="4658141"/>
            <a:ext cx="222130" cy="825250"/>
          </a:xfrm>
          <a:prstGeom prst="downArrow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7" name="Text Box 81"/>
          <p:cNvSpPr txBox="1"/>
          <p:nvPr/>
        </p:nvSpPr>
        <p:spPr>
          <a:xfrm>
            <a:off x="6374019" y="6375731"/>
            <a:ext cx="790369" cy="338176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lnSpc>
                <a:spcPct val="150000"/>
              </a:lnSpc>
              <a:spcAft>
                <a:spcPts val="0"/>
              </a:spcAft>
            </a:pPr>
            <a:r>
              <a:rPr lang="en-US" sz="1100" b="1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ient</a:t>
            </a:r>
            <a:endParaRPr lang="en-US" sz="11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53" name="Group 52"/>
          <p:cNvGrpSpPr/>
          <p:nvPr/>
        </p:nvGrpSpPr>
        <p:grpSpPr>
          <a:xfrm rot="18868971">
            <a:off x="4851490" y="3357271"/>
            <a:ext cx="507720" cy="192259"/>
            <a:chOff x="6777419" y="2890320"/>
            <a:chExt cx="610935" cy="233161"/>
          </a:xfrm>
        </p:grpSpPr>
        <p:sp>
          <p:nvSpPr>
            <p:cNvPr id="12" name="Down Arrow 11"/>
            <p:cNvSpPr/>
            <p:nvPr/>
          </p:nvSpPr>
          <p:spPr>
            <a:xfrm rot="5400000">
              <a:off x="6854323" y="2813416"/>
              <a:ext cx="233161" cy="386970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2" name="Down Arrow 51"/>
            <p:cNvSpPr/>
            <p:nvPr/>
          </p:nvSpPr>
          <p:spPr>
            <a:xfrm rot="16200000">
              <a:off x="7078288" y="2813416"/>
              <a:ext cx="233161" cy="386970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5029452" y="4166897"/>
            <a:ext cx="392699" cy="174533"/>
            <a:chOff x="6777419" y="2890320"/>
            <a:chExt cx="610935" cy="233161"/>
          </a:xfrm>
        </p:grpSpPr>
        <p:sp>
          <p:nvSpPr>
            <p:cNvPr id="55" name="Down Arrow 54"/>
            <p:cNvSpPr/>
            <p:nvPr/>
          </p:nvSpPr>
          <p:spPr>
            <a:xfrm rot="5400000">
              <a:off x="6854323" y="2813416"/>
              <a:ext cx="233161" cy="386970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6" name="Down Arrow 55"/>
            <p:cNvSpPr/>
            <p:nvPr/>
          </p:nvSpPr>
          <p:spPr>
            <a:xfrm rot="16200000">
              <a:off x="7078288" y="2813416"/>
              <a:ext cx="233161" cy="386970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3866162" y="4159106"/>
            <a:ext cx="507720" cy="192259"/>
            <a:chOff x="6777419" y="2890320"/>
            <a:chExt cx="610935" cy="233161"/>
          </a:xfrm>
        </p:grpSpPr>
        <p:sp>
          <p:nvSpPr>
            <p:cNvPr id="60" name="Down Arrow 59"/>
            <p:cNvSpPr/>
            <p:nvPr/>
          </p:nvSpPr>
          <p:spPr>
            <a:xfrm rot="5400000">
              <a:off x="6854323" y="2813416"/>
              <a:ext cx="233161" cy="386970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61" name="Down Arrow 60"/>
            <p:cNvSpPr/>
            <p:nvPr/>
          </p:nvSpPr>
          <p:spPr>
            <a:xfrm rot="16200000">
              <a:off x="7078288" y="2813416"/>
              <a:ext cx="233161" cy="386970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grpSp>
        <p:nvGrpSpPr>
          <p:cNvPr id="62" name="Group 61"/>
          <p:cNvGrpSpPr/>
          <p:nvPr/>
        </p:nvGrpSpPr>
        <p:grpSpPr>
          <a:xfrm rot="3691665">
            <a:off x="4710690" y="4922513"/>
            <a:ext cx="702435" cy="220306"/>
            <a:chOff x="6777419" y="2890320"/>
            <a:chExt cx="610935" cy="233161"/>
          </a:xfrm>
        </p:grpSpPr>
        <p:sp>
          <p:nvSpPr>
            <p:cNvPr id="63" name="Down Arrow 62"/>
            <p:cNvSpPr/>
            <p:nvPr/>
          </p:nvSpPr>
          <p:spPr>
            <a:xfrm rot="5400000">
              <a:off x="6854323" y="2813416"/>
              <a:ext cx="233161" cy="386970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64" name="Down Arrow 63"/>
            <p:cNvSpPr/>
            <p:nvPr/>
          </p:nvSpPr>
          <p:spPr>
            <a:xfrm rot="16200000">
              <a:off x="7078288" y="2813416"/>
              <a:ext cx="233161" cy="386970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pic>
        <p:nvPicPr>
          <p:cNvPr id="102402" name="Picture 2" descr="C:\Users\joey.ann.o.robles\Desktop\docker_large_v-dark-trans.png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10" t="13724" r="11991" b="36854"/>
          <a:stretch/>
        </p:blipFill>
        <p:spPr bwMode="auto">
          <a:xfrm>
            <a:off x="3711477" y="4703897"/>
            <a:ext cx="741289" cy="431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Down Arrow 66"/>
          <p:cNvSpPr/>
          <p:nvPr/>
        </p:nvSpPr>
        <p:spPr>
          <a:xfrm rot="5400000">
            <a:off x="4637467" y="1847847"/>
            <a:ext cx="238558" cy="465186"/>
          </a:xfrm>
          <a:prstGeom prst="downArrow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68" name="Down Arrow 67"/>
          <p:cNvSpPr/>
          <p:nvPr/>
        </p:nvSpPr>
        <p:spPr>
          <a:xfrm rot="20236376">
            <a:off x="5610908" y="3238756"/>
            <a:ext cx="219965" cy="913493"/>
          </a:xfrm>
          <a:prstGeom prst="downArrow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72" name="Group 71"/>
          <p:cNvGrpSpPr/>
          <p:nvPr/>
        </p:nvGrpSpPr>
        <p:grpSpPr>
          <a:xfrm rot="17624450">
            <a:off x="3445639" y="3535434"/>
            <a:ext cx="684737" cy="195509"/>
            <a:chOff x="6777419" y="2890320"/>
            <a:chExt cx="610935" cy="233161"/>
          </a:xfrm>
        </p:grpSpPr>
        <p:sp>
          <p:nvSpPr>
            <p:cNvPr id="73" name="Down Arrow 72"/>
            <p:cNvSpPr/>
            <p:nvPr/>
          </p:nvSpPr>
          <p:spPr>
            <a:xfrm rot="5400000">
              <a:off x="6854323" y="2813416"/>
              <a:ext cx="233161" cy="386970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74" name="Down Arrow 73"/>
            <p:cNvSpPr/>
            <p:nvPr/>
          </p:nvSpPr>
          <p:spPr>
            <a:xfrm rot="16200000">
              <a:off x="7078288" y="2813416"/>
              <a:ext cx="233161" cy="386970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grpSp>
        <p:nvGrpSpPr>
          <p:cNvPr id="75" name="Group 74"/>
          <p:cNvGrpSpPr/>
          <p:nvPr/>
        </p:nvGrpSpPr>
        <p:grpSpPr>
          <a:xfrm rot="13958136">
            <a:off x="4153594" y="3388622"/>
            <a:ext cx="464976" cy="195509"/>
            <a:chOff x="6777419" y="2890320"/>
            <a:chExt cx="610935" cy="233161"/>
          </a:xfrm>
        </p:grpSpPr>
        <p:sp>
          <p:nvSpPr>
            <p:cNvPr id="76" name="Down Arrow 75"/>
            <p:cNvSpPr/>
            <p:nvPr/>
          </p:nvSpPr>
          <p:spPr>
            <a:xfrm rot="5400000">
              <a:off x="6854323" y="2813416"/>
              <a:ext cx="233161" cy="386970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77" name="Down Arrow 76"/>
            <p:cNvSpPr/>
            <p:nvPr/>
          </p:nvSpPr>
          <p:spPr>
            <a:xfrm rot="16200000">
              <a:off x="7078288" y="2813416"/>
              <a:ext cx="233161" cy="386970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4515369" y="5631076"/>
            <a:ext cx="392699" cy="174533"/>
            <a:chOff x="6777419" y="2890320"/>
            <a:chExt cx="610935" cy="233161"/>
          </a:xfrm>
        </p:grpSpPr>
        <p:sp>
          <p:nvSpPr>
            <p:cNvPr id="79" name="Down Arrow 78"/>
            <p:cNvSpPr/>
            <p:nvPr/>
          </p:nvSpPr>
          <p:spPr>
            <a:xfrm rot="5400000">
              <a:off x="6854323" y="2813416"/>
              <a:ext cx="233161" cy="386970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80" name="Down Arrow 79"/>
            <p:cNvSpPr/>
            <p:nvPr/>
          </p:nvSpPr>
          <p:spPr>
            <a:xfrm rot="16200000">
              <a:off x="7078288" y="2813416"/>
              <a:ext cx="233161" cy="386970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917660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0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5" dur="500"/>
                                        <p:tgtEl>
                                          <p:spTgt spid="1024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6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1" animBg="1"/>
      <p:bldP spid="44" grpId="0" animBg="1"/>
      <p:bldP spid="67" grpId="0" animBg="1"/>
      <p:bldP spid="68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H" dirty="0"/>
              <a:t>DEM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061" y="3013364"/>
            <a:ext cx="8565405" cy="3354475"/>
          </a:xfrm>
        </p:spPr>
        <p:txBody>
          <a:bodyPr/>
          <a:lstStyle/>
          <a:p>
            <a:pPr marL="1771606" lvl="5" indent="0">
              <a:buNone/>
            </a:pPr>
            <a:r>
              <a:rPr lang="en-PH" sz="3200" i="1" dirty="0"/>
              <a:t>School </a:t>
            </a:r>
            <a:r>
              <a:rPr lang="en-PH" sz="3200" i="1" dirty="0" smtClean="0"/>
              <a:t>schedule</a:t>
            </a:r>
            <a:endParaRPr lang="en-US" sz="3200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568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RTRIDG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636874" y="2035376"/>
            <a:ext cx="6221376" cy="3243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600" b="0" dirty="0">
                <a:latin typeface="+mn-lt"/>
                <a:ea typeface="Segoe UI" panose="020B0502040204020203" pitchFamily="34" charset="0"/>
                <a:cs typeface="Segoe UI" panose="020B0502040204020203" pitchFamily="34" charset="0"/>
              </a:rPr>
              <a:t>A cartridge is a </a:t>
            </a:r>
            <a:r>
              <a:rPr lang="en-US" sz="1600" b="0" dirty="0" smtClean="0">
                <a:latin typeface="+mn-lt"/>
                <a:ea typeface="Segoe UI" panose="020B0502040204020203" pitchFamily="34" charset="0"/>
                <a:cs typeface="Segoe UI" panose="020B0502040204020203" pitchFamily="34" charset="0"/>
              </a:rPr>
              <a:t>standardized </a:t>
            </a:r>
            <a:r>
              <a:rPr lang="en-US" sz="1600" b="0" dirty="0">
                <a:latin typeface="+mn-lt"/>
                <a:ea typeface="Segoe UI" panose="020B0502040204020203" pitchFamily="34" charset="0"/>
                <a:cs typeface="Segoe UI" panose="020B0502040204020203" pitchFamily="34" charset="0"/>
              </a:rPr>
              <a:t>approach of packaging and sharing reusable software delivery assets. </a:t>
            </a:r>
            <a:endParaRPr lang="en-US" sz="1600" b="0" dirty="0" smtClean="0">
              <a:latin typeface="+mn-lt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600" b="0" dirty="0" smtClean="0">
              <a:latin typeface="+mn-lt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600" b="0" dirty="0" smtClean="0">
                <a:latin typeface="+mn-lt"/>
                <a:ea typeface="Segoe UI" panose="020B0502040204020203" pitchFamily="34" charset="0"/>
                <a:cs typeface="Segoe UI" panose="020B0502040204020203" pitchFamily="34" charset="0"/>
              </a:rPr>
              <a:t>They </a:t>
            </a:r>
            <a:r>
              <a:rPr lang="en-US" sz="1600" b="0" dirty="0">
                <a:latin typeface="+mn-lt"/>
                <a:ea typeface="Segoe UI" panose="020B0502040204020203" pitchFamily="34" charset="0"/>
                <a:cs typeface="Segoe UI" panose="020B0502040204020203" pitchFamily="34" charset="0"/>
              </a:rPr>
              <a:t>will typically defines the Git repositories with sample code, Jenkins jobs and pipelines that define a reference implementation for a particular </a:t>
            </a:r>
            <a:r>
              <a:rPr lang="en-US" sz="1600" b="0" dirty="0" smtClean="0">
                <a:latin typeface="+mn-lt"/>
                <a:ea typeface="Segoe UI" panose="020B0502040204020203" pitchFamily="34" charset="0"/>
                <a:cs typeface="Segoe UI" panose="020B0502040204020203" pitchFamily="34" charset="0"/>
              </a:rPr>
              <a:t>technology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600" b="0" dirty="0" smtClean="0">
              <a:latin typeface="+mn-lt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600" b="0" dirty="0" smtClean="0">
                <a:latin typeface="+mn-lt"/>
                <a:ea typeface="Segoe UI" panose="020B0502040204020203" pitchFamily="34" charset="0"/>
                <a:cs typeface="Segoe UI" panose="020B0502040204020203" pitchFamily="34" charset="0"/>
              </a:rPr>
              <a:t>Cartridges </a:t>
            </a:r>
            <a:r>
              <a:rPr lang="en-US" sz="1600" b="0" dirty="0">
                <a:latin typeface="+mn-lt"/>
                <a:ea typeface="Segoe UI" panose="020B0502040204020203" pitchFamily="34" charset="0"/>
                <a:cs typeface="Segoe UI" panose="020B0502040204020203" pitchFamily="34" charset="0"/>
              </a:rPr>
              <a:t>can be loaded into the platform dynamically at any time and multiple cartridges can be loaded concurrently. </a:t>
            </a:r>
            <a:endParaRPr lang="en-US" sz="1600" b="0" dirty="0" smtClean="0">
              <a:latin typeface="+mn-lt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600" b="0" dirty="0" smtClean="0">
              <a:latin typeface="+mn-lt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600" b="0" dirty="0" smtClean="0">
                <a:latin typeface="+mn-lt"/>
                <a:ea typeface="Segoe UI" panose="020B0502040204020203" pitchFamily="34" charset="0"/>
                <a:cs typeface="Segoe UI" panose="020B0502040204020203" pitchFamily="34" charset="0"/>
              </a:rPr>
              <a:t>They </a:t>
            </a:r>
            <a:r>
              <a:rPr lang="en-US" sz="1600" b="0" dirty="0">
                <a:latin typeface="+mn-lt"/>
                <a:ea typeface="Segoe UI" panose="020B0502040204020203" pitchFamily="34" charset="0"/>
                <a:cs typeface="Segoe UI" panose="020B0502040204020203" pitchFamily="34" charset="0"/>
              </a:rPr>
              <a:t>are designed for modularity and reuse and as a means for people to contribute to the </a:t>
            </a:r>
            <a:r>
              <a:rPr lang="en-US" sz="1600" b="0" dirty="0" smtClean="0">
                <a:latin typeface="+mn-lt"/>
                <a:ea typeface="Segoe UI" panose="020B0502040204020203" pitchFamily="34" charset="0"/>
                <a:cs typeface="Segoe UI" panose="020B0502040204020203" pitchFamily="34" charset="0"/>
              </a:rPr>
              <a:t>platform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1600" b="0" dirty="0" smtClean="0">
              <a:latin typeface="+mn-lt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600" b="0" dirty="0" smtClean="0">
                <a:latin typeface="+mn-lt"/>
                <a:ea typeface="Segoe UI" panose="020B0502040204020203" pitchFamily="34" charset="0"/>
                <a:cs typeface="Segoe UI" panose="020B0502040204020203" pitchFamily="34" charset="0"/>
              </a:rPr>
              <a:t>Cartridges </a:t>
            </a:r>
            <a:r>
              <a:rPr lang="en-US" sz="1600" b="0" dirty="0">
                <a:latin typeface="+mn-lt"/>
                <a:ea typeface="Segoe UI" panose="020B0502040204020203" pitchFamily="34" charset="0"/>
                <a:cs typeface="Segoe UI" panose="020B0502040204020203" pitchFamily="34" charset="0"/>
              </a:rPr>
              <a:t>are defined according to the cartridge specification which is implemented by the cartridge skeleton which can be used as a basis for cartridge development.</a:t>
            </a:r>
          </a:p>
        </p:txBody>
      </p:sp>
      <p:pic>
        <p:nvPicPr>
          <p:cNvPr id="7" name="Picture 4" descr="Cartridge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36" y="2421065"/>
            <a:ext cx="2047875" cy="1619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368572" y="4040316"/>
            <a:ext cx="1970839" cy="8802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0" dirty="0">
                <a:latin typeface="arial" panose="020B0604020202020204" pitchFamily="34" charset="0"/>
              </a:rPr>
              <a:t>The </a:t>
            </a:r>
            <a:r>
              <a:rPr lang="en-US" sz="1600" b="0" dirty="0" smtClean="0">
                <a:latin typeface="arial" panose="020B0604020202020204" pitchFamily="34" charset="0"/>
              </a:rPr>
              <a:t>architecture is based on three (</a:t>
            </a:r>
            <a:r>
              <a:rPr lang="en-US" sz="1600" b="0" dirty="0">
                <a:latin typeface="arial" panose="020B0604020202020204" pitchFamily="34" charset="0"/>
              </a:rPr>
              <a:t>perhaps three and a half layers</a:t>
            </a:r>
            <a:r>
              <a:rPr lang="en-US" sz="1600" b="0" dirty="0" smtClean="0">
                <a:latin typeface="arial" panose="020B0604020202020204" pitchFamily="34" charset="0"/>
              </a:rPr>
              <a:t>).</a:t>
            </a:r>
            <a:endParaRPr lang="en-US" sz="1600" b="0" dirty="0"/>
          </a:p>
        </p:txBody>
      </p:sp>
    </p:spTree>
    <p:extLst>
      <p:ext uri="{BB962C8B-B14F-4D97-AF65-F5344CB8AC3E}">
        <p14:creationId xmlns:p14="http://schemas.microsoft.com/office/powerpoint/2010/main" val="36963802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25107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RTRIDG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649725" y="1847586"/>
            <a:ext cx="6213513" cy="344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artridges can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</a:t>
            </a:r>
          </a:p>
          <a:p>
            <a:endParaRPr lang="en-US" sz="1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6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Be </a:t>
            </a:r>
            <a:r>
              <a:rPr lang="en-US" sz="16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oaded at any tim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Be </a:t>
            </a:r>
            <a:r>
              <a:rPr lang="en-US" sz="16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mbined to build support for complex system development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Be </a:t>
            </a:r>
            <a:r>
              <a:rPr lang="en-US" sz="16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ended to include additional configuration beyond Jenkins pipelines, </a:t>
            </a:r>
            <a:r>
              <a:rPr lang="en-US" sz="1600" b="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Git</a:t>
            </a:r>
            <a:r>
              <a:rPr lang="en-US" sz="16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repositories and </a:t>
            </a:r>
            <a:r>
              <a:rPr lang="en-US" sz="1600" b="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ensu</a:t>
            </a:r>
            <a:r>
              <a:rPr lang="en-US" sz="16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Checks </a:t>
            </a:r>
          </a:p>
          <a:p>
            <a:endParaRPr lang="en-US" sz="16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reating cartridge 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</a:t>
            </a:r>
          </a:p>
          <a:p>
            <a:endParaRPr lang="en-US" sz="1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6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pin </a:t>
            </a:r>
            <a:r>
              <a:rPr lang="en-US" sz="16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up an ADOP Core - https://github.com/Accenture/adop-docker-compos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Determine </a:t>
            </a:r>
            <a:r>
              <a:rPr lang="en-US" sz="16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scope of a Cartridg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oad </a:t>
            </a:r>
            <a:r>
              <a:rPr lang="en-US" sz="16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Cartridge development in order to develop your cartridge - </a:t>
            </a:r>
            <a:r>
              <a:rPr lang="en-US" sz="1600" b="0" dirty="0">
                <a:solidFill>
                  <a:schemeClr val="accent3"/>
                </a:solidFill>
              </a:rPr>
              <a:t>https://github.com/Accenture/adop-cartridge-cartridge-dev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reate </a:t>
            </a:r>
            <a:r>
              <a:rPr lang="en-US" sz="16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Cartridge content</a:t>
            </a:r>
          </a:p>
          <a:p>
            <a:endParaRPr lang="en-US" sz="1600" b="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7" name="Picture 4" descr="Cartridge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476" y="2314740"/>
            <a:ext cx="2047875" cy="1619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283512" y="3933991"/>
            <a:ext cx="1970839" cy="8802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0" dirty="0">
                <a:latin typeface="arial" panose="020B0604020202020204" pitchFamily="34" charset="0"/>
              </a:rPr>
              <a:t>The </a:t>
            </a:r>
            <a:r>
              <a:rPr lang="en-US" sz="1600" b="0" dirty="0" smtClean="0">
                <a:latin typeface="arial" panose="020B0604020202020204" pitchFamily="34" charset="0"/>
              </a:rPr>
              <a:t>architecture is based on three (</a:t>
            </a:r>
            <a:r>
              <a:rPr lang="en-US" sz="1600" b="0" dirty="0">
                <a:latin typeface="arial" panose="020B0604020202020204" pitchFamily="34" charset="0"/>
              </a:rPr>
              <a:t>perhaps three and a half layers</a:t>
            </a:r>
            <a:r>
              <a:rPr lang="en-US" sz="1600" b="0" dirty="0" smtClean="0">
                <a:latin typeface="arial" panose="020B0604020202020204" pitchFamily="34" charset="0"/>
              </a:rPr>
              <a:t>).</a:t>
            </a:r>
            <a:endParaRPr lang="en-US" sz="1600" b="0" dirty="0"/>
          </a:p>
        </p:txBody>
      </p:sp>
    </p:spTree>
    <p:extLst>
      <p:ext uri="{BB962C8B-B14F-4D97-AF65-F5344CB8AC3E}">
        <p14:creationId xmlns:p14="http://schemas.microsoft.com/office/powerpoint/2010/main" val="25215418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RTRIDG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649725" y="2048224"/>
            <a:ext cx="6213513" cy="2653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est the cartridge 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6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ush </a:t>
            </a:r>
            <a:r>
              <a:rPr lang="en-US" sz="16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artridge to a </a:t>
            </a:r>
            <a:r>
              <a:rPr lang="en-US" sz="1600" b="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Git</a:t>
            </a:r>
            <a:r>
              <a:rPr lang="en-US" sz="16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repository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6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dd </a:t>
            </a:r>
            <a:r>
              <a:rPr lang="en-US" sz="16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artridge URL so it can be </a:t>
            </a:r>
            <a:r>
              <a:rPr lang="en-US" sz="16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oaded</a:t>
            </a:r>
          </a:p>
          <a:p>
            <a:pPr lvl="1"/>
            <a:endParaRPr lang="en-US" sz="16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sz="16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Via </a:t>
            </a:r>
            <a:r>
              <a:rPr lang="en-US" sz="16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latform-management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6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Via </a:t>
            </a:r>
            <a:r>
              <a:rPr lang="en-US" sz="16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odifying </a:t>
            </a:r>
            <a:r>
              <a:rPr lang="en-US" sz="1600" b="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oad_Cartridge</a:t>
            </a:r>
            <a:endParaRPr lang="en-US" sz="1600" b="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lang="en-US" sz="16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6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Once </a:t>
            </a:r>
            <a:r>
              <a:rPr lang="en-US" sz="16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 project has been created there will be a "</a:t>
            </a:r>
            <a:r>
              <a:rPr lang="en-US" sz="1600" b="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artridge_Management</a:t>
            </a:r>
            <a:r>
              <a:rPr lang="en-US" sz="16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/</a:t>
            </a:r>
            <a:r>
              <a:rPr lang="en-US" sz="1600" b="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Load_Cartridge</a:t>
            </a:r>
            <a:r>
              <a:rPr lang="en-US" sz="16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" job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600" b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This </a:t>
            </a:r>
            <a:r>
              <a:rPr lang="en-US" sz="16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an be modified to add the cartridge </a:t>
            </a:r>
            <a:r>
              <a:rPr lang="en-US" sz="1600" b="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Git</a:t>
            </a:r>
            <a:r>
              <a:rPr lang="en-US" sz="16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repository URL to the parameter list (by default the cartridge development cartridge is included as an option)</a:t>
            </a:r>
            <a:endParaRPr lang="en-US" sz="1600" b="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7" name="Picture 4" descr="Cartridge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476" y="2314740"/>
            <a:ext cx="2047875" cy="1619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283512" y="3933991"/>
            <a:ext cx="1970839" cy="8802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0" dirty="0">
                <a:latin typeface="arial" panose="020B0604020202020204" pitchFamily="34" charset="0"/>
              </a:rPr>
              <a:t>The </a:t>
            </a:r>
            <a:r>
              <a:rPr lang="en-US" sz="1600" b="0" dirty="0" smtClean="0">
                <a:latin typeface="arial" panose="020B0604020202020204" pitchFamily="34" charset="0"/>
              </a:rPr>
              <a:t>architecture is based on three (</a:t>
            </a:r>
            <a:r>
              <a:rPr lang="en-US" sz="1600" b="0" dirty="0">
                <a:latin typeface="arial" panose="020B0604020202020204" pitchFamily="34" charset="0"/>
              </a:rPr>
              <a:t>perhaps three and a half layers</a:t>
            </a:r>
            <a:r>
              <a:rPr lang="en-US" sz="1600" b="0" dirty="0" smtClean="0">
                <a:latin typeface="arial" panose="020B0604020202020204" pitchFamily="34" charset="0"/>
              </a:rPr>
              <a:t>).</a:t>
            </a:r>
            <a:endParaRPr lang="en-US" sz="1600" b="0" dirty="0"/>
          </a:p>
        </p:txBody>
      </p:sp>
    </p:spTree>
    <p:extLst>
      <p:ext uri="{BB962C8B-B14F-4D97-AF65-F5344CB8AC3E}">
        <p14:creationId xmlns:p14="http://schemas.microsoft.com/office/powerpoint/2010/main" val="1407846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719124-5D47-42CE-9623-8F1592D84F2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Copyright © 2015 Accenture. All rights reserved. Confidential—For Company Internal Use Only.</a:t>
            </a:r>
            <a:endParaRPr lang="en-US" dirty="0"/>
          </a:p>
        </p:txBody>
      </p:sp>
      <p:sp>
        <p:nvSpPr>
          <p:cNvPr id="10" name="Text Box 3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407276" y="6584949"/>
            <a:ext cx="1398140" cy="21544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sz="1000" b="0" dirty="0">
                <a:solidFill>
                  <a:srgbClr val="A20000"/>
                </a:solidFill>
              </a:rPr>
              <a:t>For Internal Use Only</a:t>
            </a:r>
          </a:p>
        </p:txBody>
      </p:sp>
      <p:sp>
        <p:nvSpPr>
          <p:cNvPr id="19" name="Round Diagonal Corner Rectangle 18"/>
          <p:cNvSpPr/>
          <p:nvPr/>
        </p:nvSpPr>
        <p:spPr bwMode="auto">
          <a:xfrm>
            <a:off x="1245497" y="1797433"/>
            <a:ext cx="6853475" cy="473489"/>
          </a:xfrm>
          <a:prstGeom prst="round2DiagRect">
            <a:avLst/>
          </a:prstGeom>
          <a:gradFill flip="none" rotWithShape="1">
            <a:gsLst>
              <a:gs pos="10000">
                <a:schemeClr val="accent5">
                  <a:lumMod val="50000"/>
                </a:schemeClr>
              </a:gs>
              <a:gs pos="82000">
                <a:schemeClr val="accent5">
                  <a:lumMod val="50000"/>
                  <a:tint val="44500"/>
                  <a:satMod val="160000"/>
                </a:schemeClr>
              </a:gs>
              <a:gs pos="100000">
                <a:schemeClr val="accent5">
                  <a:lumMod val="50000"/>
                  <a:tint val="23500"/>
                  <a:satMod val="16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lvl="1"/>
            <a:r>
              <a:rPr lang="en-PH" sz="1800" dirty="0" smtClean="0">
                <a:solidFill>
                  <a:schemeClr val="bg1"/>
                </a:solidFill>
              </a:rPr>
              <a:t>DESCRIPTION OF ROLES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3" name="Oval 2"/>
          <p:cNvSpPr/>
          <p:nvPr/>
        </p:nvSpPr>
        <p:spPr bwMode="auto">
          <a:xfrm>
            <a:off x="693604" y="1652626"/>
            <a:ext cx="757531" cy="71937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200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068" y="1775569"/>
            <a:ext cx="498603" cy="473489"/>
          </a:xfrm>
          <a:prstGeom prst="rect">
            <a:avLst/>
          </a:prstGeom>
        </p:spPr>
      </p:pic>
      <p:sp>
        <p:nvSpPr>
          <p:cNvPr id="22" name="Round Diagonal Corner Rectangle 21"/>
          <p:cNvSpPr/>
          <p:nvPr/>
        </p:nvSpPr>
        <p:spPr bwMode="auto">
          <a:xfrm>
            <a:off x="1292068" y="2591668"/>
            <a:ext cx="6853475" cy="473489"/>
          </a:xfrm>
          <a:prstGeom prst="round2DiagRect">
            <a:avLst/>
          </a:prstGeom>
          <a:gradFill flip="none" rotWithShape="1">
            <a:gsLst>
              <a:gs pos="10000">
                <a:schemeClr val="accent5">
                  <a:lumMod val="50000"/>
                </a:schemeClr>
              </a:gs>
              <a:gs pos="82000">
                <a:schemeClr val="accent5">
                  <a:lumMod val="50000"/>
                  <a:tint val="44500"/>
                  <a:satMod val="160000"/>
                </a:schemeClr>
              </a:gs>
              <a:gs pos="100000">
                <a:schemeClr val="accent5">
                  <a:lumMod val="50000"/>
                  <a:tint val="23500"/>
                  <a:satMod val="16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lvl="1"/>
            <a:r>
              <a:rPr lang="en-US" sz="1800" dirty="0" smtClean="0">
                <a:solidFill>
                  <a:schemeClr val="bg1"/>
                </a:solidFill>
              </a:rPr>
              <a:t>WORK PLAN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3" name="Oval 22"/>
          <p:cNvSpPr/>
          <p:nvPr/>
        </p:nvSpPr>
        <p:spPr bwMode="auto">
          <a:xfrm>
            <a:off x="693604" y="2446859"/>
            <a:ext cx="757531" cy="71937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200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5" name="Round Diagonal Corner Rectangle 24"/>
          <p:cNvSpPr/>
          <p:nvPr/>
        </p:nvSpPr>
        <p:spPr bwMode="auto">
          <a:xfrm>
            <a:off x="1292068" y="3388829"/>
            <a:ext cx="6853475" cy="473489"/>
          </a:xfrm>
          <a:prstGeom prst="round2DiagRect">
            <a:avLst/>
          </a:prstGeom>
          <a:gradFill flip="none" rotWithShape="1">
            <a:gsLst>
              <a:gs pos="10000">
                <a:schemeClr val="accent5">
                  <a:lumMod val="50000"/>
                </a:schemeClr>
              </a:gs>
              <a:gs pos="82000">
                <a:schemeClr val="accent5">
                  <a:lumMod val="50000"/>
                  <a:tint val="44500"/>
                  <a:satMod val="160000"/>
                </a:schemeClr>
              </a:gs>
              <a:gs pos="100000">
                <a:schemeClr val="accent5">
                  <a:lumMod val="50000"/>
                  <a:tint val="23500"/>
                  <a:satMod val="16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lvl="1"/>
            <a:r>
              <a:rPr lang="en-US" sz="1800" dirty="0" smtClean="0">
                <a:solidFill>
                  <a:schemeClr val="bg1"/>
                </a:solidFill>
              </a:rPr>
              <a:t>WHAT IS DEVOPS?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6" name="Oval 25"/>
          <p:cNvSpPr/>
          <p:nvPr/>
        </p:nvSpPr>
        <p:spPr bwMode="auto">
          <a:xfrm>
            <a:off x="693604" y="3244022"/>
            <a:ext cx="757531" cy="71937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200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7" name="Round Diagonal Corner Rectangle 26"/>
          <p:cNvSpPr/>
          <p:nvPr/>
        </p:nvSpPr>
        <p:spPr bwMode="auto">
          <a:xfrm>
            <a:off x="1276224" y="4181865"/>
            <a:ext cx="6853475" cy="473489"/>
          </a:xfrm>
          <a:prstGeom prst="round2DiagRect">
            <a:avLst/>
          </a:prstGeom>
          <a:gradFill flip="none" rotWithShape="1">
            <a:gsLst>
              <a:gs pos="10000">
                <a:schemeClr val="accent5">
                  <a:lumMod val="50000"/>
                </a:schemeClr>
              </a:gs>
              <a:gs pos="82000">
                <a:schemeClr val="accent5">
                  <a:lumMod val="50000"/>
                  <a:tint val="44500"/>
                  <a:satMod val="160000"/>
                </a:schemeClr>
              </a:gs>
              <a:gs pos="100000">
                <a:schemeClr val="accent5">
                  <a:lumMod val="50000"/>
                  <a:tint val="23500"/>
                  <a:satMod val="16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lvl="1"/>
            <a:r>
              <a:rPr lang="en-US" sz="1800" dirty="0" smtClean="0">
                <a:solidFill>
                  <a:schemeClr val="bg1"/>
                </a:solidFill>
              </a:rPr>
              <a:t>OVERVIEW OF TOOLS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8" name="Oval 27"/>
          <p:cNvSpPr/>
          <p:nvPr/>
        </p:nvSpPr>
        <p:spPr bwMode="auto">
          <a:xfrm>
            <a:off x="677760" y="4037057"/>
            <a:ext cx="757531" cy="71937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200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472" y="2478625"/>
            <a:ext cx="682379" cy="648007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707" y="3477926"/>
            <a:ext cx="583637" cy="280815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826" y="4215261"/>
            <a:ext cx="400671" cy="380489"/>
          </a:xfrm>
          <a:prstGeom prst="rect">
            <a:avLst/>
          </a:prstGeom>
        </p:spPr>
      </p:pic>
      <p:sp>
        <p:nvSpPr>
          <p:cNvPr id="18" name="Round Diagonal Corner Rectangle 17"/>
          <p:cNvSpPr/>
          <p:nvPr/>
        </p:nvSpPr>
        <p:spPr bwMode="auto">
          <a:xfrm>
            <a:off x="1363171" y="4947312"/>
            <a:ext cx="6853475" cy="473489"/>
          </a:xfrm>
          <a:prstGeom prst="round2DiagRect">
            <a:avLst/>
          </a:prstGeom>
          <a:gradFill flip="none" rotWithShape="1">
            <a:gsLst>
              <a:gs pos="10000">
                <a:schemeClr val="accent5">
                  <a:lumMod val="50000"/>
                </a:schemeClr>
              </a:gs>
              <a:gs pos="82000">
                <a:schemeClr val="accent5">
                  <a:lumMod val="50000"/>
                  <a:tint val="44500"/>
                  <a:satMod val="160000"/>
                </a:schemeClr>
              </a:gs>
              <a:gs pos="100000">
                <a:schemeClr val="accent5">
                  <a:lumMod val="50000"/>
                  <a:tint val="23500"/>
                  <a:satMod val="16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lvl="1"/>
            <a:r>
              <a:rPr lang="en-US" sz="1800" dirty="0" smtClean="0">
                <a:solidFill>
                  <a:schemeClr val="bg1"/>
                </a:solidFill>
              </a:rPr>
              <a:t>DEMO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0" name="Oval 19"/>
          <p:cNvSpPr/>
          <p:nvPr/>
        </p:nvSpPr>
        <p:spPr bwMode="auto">
          <a:xfrm>
            <a:off x="764707" y="4802504"/>
            <a:ext cx="757531" cy="71937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200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826" y="4802504"/>
            <a:ext cx="682379" cy="648007"/>
          </a:xfrm>
          <a:prstGeom prst="rect">
            <a:avLst/>
          </a:prstGeom>
        </p:spPr>
      </p:pic>
      <p:sp>
        <p:nvSpPr>
          <p:cNvPr id="30" name="Round Diagonal Corner Rectangle 29"/>
          <p:cNvSpPr/>
          <p:nvPr/>
        </p:nvSpPr>
        <p:spPr bwMode="auto">
          <a:xfrm>
            <a:off x="1292068" y="5678467"/>
            <a:ext cx="6853475" cy="473489"/>
          </a:xfrm>
          <a:prstGeom prst="round2DiagRect">
            <a:avLst/>
          </a:prstGeom>
          <a:gradFill flip="none" rotWithShape="1">
            <a:gsLst>
              <a:gs pos="10000">
                <a:schemeClr val="accent5">
                  <a:lumMod val="50000"/>
                </a:schemeClr>
              </a:gs>
              <a:gs pos="82000">
                <a:schemeClr val="accent5">
                  <a:lumMod val="50000"/>
                  <a:tint val="44500"/>
                  <a:satMod val="160000"/>
                </a:schemeClr>
              </a:gs>
              <a:gs pos="100000">
                <a:schemeClr val="accent5">
                  <a:lumMod val="50000"/>
                  <a:tint val="23500"/>
                  <a:satMod val="16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lvl="1"/>
            <a:r>
              <a:rPr lang="en-PH" sz="1800" dirty="0" smtClean="0">
                <a:solidFill>
                  <a:schemeClr val="bg1"/>
                </a:solidFill>
              </a:rPr>
              <a:t>ADOP CARTRIDGE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31" name="Oval 30"/>
          <p:cNvSpPr/>
          <p:nvPr/>
        </p:nvSpPr>
        <p:spPr bwMode="auto">
          <a:xfrm>
            <a:off x="693604" y="5533659"/>
            <a:ext cx="757531" cy="71937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200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670" y="5711863"/>
            <a:ext cx="400671" cy="380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2563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cription of Roles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07622248"/>
              </p:ext>
            </p:extLst>
          </p:nvPr>
        </p:nvGraphicFramePr>
        <p:xfrm>
          <a:off x="292101" y="2480183"/>
          <a:ext cx="8566149" cy="3022600"/>
        </p:xfrm>
        <a:graphic>
          <a:graphicData uri="http://schemas.openxmlformats.org/drawingml/2006/table">
            <a:tbl>
              <a:tblPr firstRow="1" bandRow="1">
                <a:tableStyleId>{35758FB7-9AC5-4552-8A53-C91805E547FA}</a:tableStyleId>
              </a:tblPr>
              <a:tblGrid>
                <a:gridCol w="2855383"/>
                <a:gridCol w="2838537"/>
                <a:gridCol w="2872229"/>
              </a:tblGrid>
              <a:tr h="549910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</a:rPr>
                        <a:t>Roles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</a:rPr>
                        <a:t>Responsibilities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PH" sz="1800" dirty="0" smtClean="0">
                          <a:solidFill>
                            <a:schemeClr val="bg1"/>
                          </a:solidFill>
                          <a:effectLst/>
                        </a:rPr>
                        <a:t>Name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49910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</a:rPr>
                        <a:t>Team Lead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PH" sz="1800" dirty="0">
                          <a:solidFill>
                            <a:schemeClr val="tx1"/>
                          </a:solidFill>
                          <a:effectLst/>
                        </a:rPr>
                        <a:t>Overall in-charge of the project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PH" sz="1800" dirty="0" err="1" smtClean="0">
                          <a:solidFill>
                            <a:schemeClr val="tx1"/>
                          </a:solidFill>
                          <a:effectLst/>
                        </a:rPr>
                        <a:t>cris.gievid.m.narca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49910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</a:rPr>
                        <a:t>CI/CD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PH" sz="1800" dirty="0">
                          <a:solidFill>
                            <a:schemeClr val="tx1"/>
                          </a:solidFill>
                          <a:effectLst/>
                        </a:rPr>
                        <a:t>In-charge of Configuration of Tools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effectLst/>
                        </a:rPr>
                        <a:t>anjhillian.s.cabrera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effectLst/>
                        </a:rPr>
                        <a:t>mari.cris.p.ayes</a:t>
                      </a:r>
                      <a:endParaRPr lang="en-US" sz="18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49910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</a:rPr>
                        <a:t>Developer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PH" sz="1800" dirty="0">
                          <a:solidFill>
                            <a:schemeClr val="tx1"/>
                          </a:solidFill>
                          <a:effectLst/>
                        </a:rPr>
                        <a:t>In-charge of the Development of Application that will be use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effectLst/>
                        </a:rPr>
                        <a:t>mari.cris.p.ayes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effectLst/>
                        </a:rPr>
                        <a:t>joey.ann.o.robles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49910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</a:rPr>
                        <a:t>Document – Writer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PH" sz="1800" dirty="0">
                          <a:solidFill>
                            <a:schemeClr val="tx1"/>
                          </a:solidFill>
                          <a:effectLst/>
                        </a:rPr>
                        <a:t>In-charge of Documenting the whole project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err="1" smtClean="0">
                          <a:solidFill>
                            <a:schemeClr val="tx1"/>
                          </a:solidFill>
                          <a:effectLst/>
                        </a:rPr>
                        <a:t>pauleen.s.pineda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5000" y="6283331"/>
            <a:ext cx="4489450" cy="457200"/>
          </a:xfrm>
        </p:spPr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4459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061" y="542668"/>
            <a:ext cx="8380228" cy="1048138"/>
          </a:xfrm>
        </p:spPr>
        <p:txBody>
          <a:bodyPr/>
          <a:lstStyle/>
          <a:p>
            <a:r>
              <a:rPr lang="en-US" b="0" dirty="0">
                <a:ln w="10160">
                  <a:noFill/>
                  <a:prstDash val="solid"/>
                </a:ln>
                <a:effectLst>
                  <a:outerShdw blurRad="38100" dist="32000" dir="5400000" algn="tl">
                    <a:srgbClr val="000000">
                      <a:alpha val="30000"/>
                    </a:srgbClr>
                  </a:outerShdw>
                </a:effectLst>
              </a:rPr>
              <a:t>Work plan</a:t>
            </a:r>
            <a:br>
              <a:rPr lang="en-US" b="0" dirty="0">
                <a:ln w="10160">
                  <a:noFill/>
                  <a:prstDash val="solid"/>
                </a:ln>
                <a:effectLst>
                  <a:outerShdw blurRad="38100" dist="32000" dir="5400000" algn="tl">
                    <a:srgbClr val="000000">
                      <a:alpha val="30000"/>
                    </a:srgbClr>
                  </a:outerShdw>
                </a:effectLst>
              </a:rPr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pic>
        <p:nvPicPr>
          <p:cNvPr id="6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138" y="1888242"/>
            <a:ext cx="8566150" cy="4181654"/>
          </a:xfrm>
        </p:spPr>
      </p:pic>
    </p:spTree>
    <p:extLst>
      <p:ext uri="{BB962C8B-B14F-4D97-AF65-F5344CB8AC3E}">
        <p14:creationId xmlns:p14="http://schemas.microsoft.com/office/powerpoint/2010/main" val="13662434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ln w="10160">
                  <a:noFill/>
                  <a:prstDash val="solid"/>
                </a:ln>
                <a:effectLst>
                  <a:outerShdw blurRad="38100" dist="32000" dir="5400000" algn="tl">
                    <a:srgbClr val="000000">
                      <a:alpha val="30000"/>
                    </a:srgbClr>
                  </a:outerShdw>
                </a:effectLst>
              </a:rPr>
              <a:t>What is DevOps?</a:t>
            </a:r>
            <a:br>
              <a:rPr lang="en-US" b="0" dirty="0">
                <a:ln w="10160">
                  <a:noFill/>
                  <a:prstDash val="solid"/>
                </a:ln>
                <a:effectLst>
                  <a:outerShdw blurRad="38100" dist="32000" dir="5400000" algn="tl">
                    <a:srgbClr val="000000">
                      <a:alpha val="30000"/>
                    </a:srgbClr>
                  </a:outerShdw>
                </a:effectLst>
              </a:rPr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685575" y="2838450"/>
            <a:ext cx="2514600" cy="2514600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solidFill>
              <a:schemeClr val="accent1">
                <a:alpha val="50000"/>
              </a:schemeClr>
            </a:solidFill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H" sz="6600" dirty="0" smtClean="0">
                <a:latin typeface="Calibri Light" panose="020F0302020204030204" pitchFamily="34" charset="0"/>
                <a:ea typeface="SimSun-ExtB" panose="02010609060101010101" pitchFamily="49" charset="-122"/>
                <a:cs typeface="Arial" panose="020B0604020202020204" pitchFamily="34" charset="0"/>
              </a:rPr>
              <a:t>Dev</a:t>
            </a:r>
            <a:endParaRPr lang="en-US" sz="6600" dirty="0">
              <a:latin typeface="Calibri Light" panose="020F0302020204030204" pitchFamily="34" charset="0"/>
              <a:ea typeface="SimSun-ExtB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6096435" y="2811377"/>
            <a:ext cx="2514600" cy="2514600"/>
          </a:xfrm>
          <a:prstGeom prst="ellipse">
            <a:avLst/>
          </a:prstGeom>
          <a:solidFill>
            <a:schemeClr val="accent2">
              <a:alpha val="50000"/>
            </a:schemeClr>
          </a:solidFill>
          <a:ln>
            <a:solidFill>
              <a:schemeClr val="accent2">
                <a:shade val="50000"/>
                <a:alpha val="50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H" sz="6600" dirty="0" smtClean="0">
                <a:latin typeface="Calibri Light" panose="020F0302020204030204" pitchFamily="34" charset="0"/>
              </a:rPr>
              <a:t>Ops</a:t>
            </a:r>
            <a:endParaRPr lang="en-US" sz="6600" dirty="0">
              <a:latin typeface="Calibri Light" panose="020F03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281200" y="3617657"/>
            <a:ext cx="2754087" cy="9251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PH" sz="6600" dirty="0" smtClean="0">
                <a:latin typeface="Calibri Light" panose="020F0302020204030204" pitchFamily="34" charset="0"/>
                <a:ea typeface="SimSun-ExtB" panose="02010609060101010101" pitchFamily="49" charset="-122"/>
                <a:cs typeface="Arial" panose="020B0604020202020204" pitchFamily="34" charset="0"/>
              </a:rPr>
              <a:t>DevOps</a:t>
            </a:r>
            <a:endParaRPr lang="en-US" sz="6600" dirty="0">
              <a:latin typeface="Calibri Light" panose="020F0302020204030204" pitchFamily="34" charset="0"/>
              <a:ea typeface="SimSun-ExtB" panose="02010609060101010101" pitchFamily="49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72468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3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761 0.00123 L 0.22239 0.00123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35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834 3.7037E-6 L -0.22083 3.7037E-6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45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9" grpId="0" animBg="1"/>
      <p:bldP spid="9" grpId="1" animBg="1"/>
      <p:bldP spid="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83" y="2113137"/>
            <a:ext cx="8565405" cy="4079319"/>
          </a:xfrm>
        </p:spPr>
        <p:txBody>
          <a:bodyPr/>
          <a:lstStyle/>
          <a:p>
            <a:pPr algn="just"/>
            <a:r>
              <a:rPr lang="en-US" dirty="0"/>
              <a:t>Development Operations (DevOps) can be described as the overall practice of automating the process of software delivery and infrastructure changes</a:t>
            </a:r>
          </a:p>
          <a:p>
            <a:pPr marL="0" indent="0" algn="just">
              <a:buNone/>
            </a:pPr>
            <a:endParaRPr lang="en-US" dirty="0"/>
          </a:p>
          <a:p>
            <a:pPr algn="just"/>
            <a:r>
              <a:rPr lang="en-US" dirty="0"/>
              <a:t>Different tools are integrated to ensure that projects are completely and correctly done in the entire service lifecycle, from design through the development process to production suppor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0115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PH" dirty="0"/>
              <a:t>Overview of Tool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8001" y="1734898"/>
            <a:ext cx="8565405" cy="4777033"/>
          </a:xfrm>
        </p:spPr>
        <p:txBody>
          <a:bodyPr/>
          <a:lstStyle/>
          <a:p>
            <a:r>
              <a:rPr lang="en-PH" dirty="0"/>
              <a:t>Amazon Web Services (AWS)</a:t>
            </a:r>
          </a:p>
          <a:p>
            <a:r>
              <a:rPr lang="en-PH" dirty="0" err="1"/>
              <a:t>GitLab</a:t>
            </a:r>
            <a:endParaRPr lang="en-PH" dirty="0"/>
          </a:p>
          <a:p>
            <a:r>
              <a:rPr lang="en-PH" dirty="0"/>
              <a:t>Jenkins</a:t>
            </a:r>
          </a:p>
          <a:p>
            <a:r>
              <a:rPr lang="en-PH" dirty="0"/>
              <a:t>Maven</a:t>
            </a:r>
          </a:p>
          <a:p>
            <a:r>
              <a:rPr lang="en-PH" dirty="0" err="1"/>
              <a:t>SonarQube</a:t>
            </a:r>
            <a:endParaRPr lang="en-PH" dirty="0"/>
          </a:p>
          <a:p>
            <a:r>
              <a:rPr lang="en-PH" dirty="0" err="1"/>
              <a:t>Ansible</a:t>
            </a:r>
            <a:endParaRPr lang="en-PH" dirty="0"/>
          </a:p>
          <a:p>
            <a:r>
              <a:rPr lang="en-PH" dirty="0"/>
              <a:t>Tomcat</a:t>
            </a:r>
          </a:p>
          <a:p>
            <a:r>
              <a:rPr lang="en-PH" dirty="0"/>
              <a:t>Seleniu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5045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845" y="3865418"/>
            <a:ext cx="8565405" cy="1795839"/>
          </a:xfrm>
        </p:spPr>
        <p:txBody>
          <a:bodyPr/>
          <a:lstStyle/>
          <a:p>
            <a:r>
              <a:rPr lang="en-US" dirty="0"/>
              <a:t>Amazon Web Services (AWS) is a cloud services platform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1B97A-378E-4F69-9D74-E5B0730D91FC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5 Accenture All Rights Reserved.</a:t>
            </a:r>
            <a:endParaRPr lang="en-US" dirty="0"/>
          </a:p>
        </p:txBody>
      </p:sp>
      <p:pic>
        <p:nvPicPr>
          <p:cNvPr id="6" name="Picture 2" descr="C:\Users\giomhel.g.c.motos\Downloads\aws-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8728" y="2045277"/>
            <a:ext cx="2819400" cy="1027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13761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4OCrYHMESgqFXfgsj8.w"/>
</p:tagLst>
</file>

<file path=ppt/theme/theme1.xml><?xml version="1.0" encoding="utf-8"?>
<a:theme xmlns:a="http://schemas.openxmlformats.org/drawingml/2006/main" name="483392_BPO_navigation_2007_3a">
  <a:themeElements>
    <a:clrScheme name="Technology 1">
      <a:dk1>
        <a:srgbClr val="FFFFFF"/>
      </a:dk1>
      <a:lt1>
        <a:srgbClr val="000000"/>
      </a:lt1>
      <a:dk2>
        <a:srgbClr val="FFFFFF"/>
      </a:dk2>
      <a:lt2>
        <a:srgbClr val="666666"/>
      </a:lt2>
      <a:accent1>
        <a:srgbClr val="66AA44"/>
      </a:accent1>
      <a:accent2>
        <a:srgbClr val="551155"/>
      </a:accent2>
      <a:accent3>
        <a:srgbClr val="6688BB"/>
      </a:accent3>
      <a:accent4>
        <a:srgbClr val="FF9900"/>
      </a:accent4>
      <a:accent5>
        <a:srgbClr val="002266"/>
      </a:accent5>
      <a:accent6>
        <a:srgbClr val="FF0000"/>
      </a:accent6>
      <a:hlink>
        <a:srgbClr val="66AA44"/>
      </a:hlink>
      <a:folHlink>
        <a:srgbClr val="FF9900"/>
      </a:folHlink>
    </a:clrScheme>
    <a:fontScheme name="Accenture Finance and Accounting BPO Services_v5_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2400" b="0" dirty="0" smtClean="0"/>
        </a:defPPr>
      </a:lstStyle>
    </a:txDef>
  </a:objectDefaults>
  <a:extraClrSchemeLst>
    <a:extraClrScheme>
      <a:clrScheme name="Accenture Finance and Accounting BPO Services_v5_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2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66AA44"/>
        </a:accent1>
        <a:accent2>
          <a:srgbClr val="DD4411"/>
        </a:accent2>
        <a:accent3>
          <a:srgbClr val="FFFFFF"/>
        </a:accent3>
        <a:accent4>
          <a:srgbClr val="000000"/>
        </a:accent4>
        <a:accent5>
          <a:srgbClr val="B8D2B0"/>
        </a:accent5>
        <a:accent6>
          <a:srgbClr val="C83D0E"/>
        </a:accent6>
        <a:hlink>
          <a:srgbClr val="BBBB00"/>
        </a:hlink>
        <a:folHlink>
          <a:srgbClr val="66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3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993399"/>
        </a:accent1>
        <a:accent2>
          <a:srgbClr val="66AA44"/>
        </a:accent2>
        <a:accent3>
          <a:srgbClr val="FFFFFF"/>
        </a:accent3>
        <a:accent4>
          <a:srgbClr val="000000"/>
        </a:accent4>
        <a:accent5>
          <a:srgbClr val="CAADCA"/>
        </a:accent5>
        <a:accent6>
          <a:srgbClr val="5C9A3D"/>
        </a:accent6>
        <a:hlink>
          <a:srgbClr val="3333CC"/>
        </a:hlink>
        <a:folHlink>
          <a:srgbClr val="66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4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88DD00"/>
        </a:accent1>
        <a:accent2>
          <a:srgbClr val="003344"/>
        </a:accent2>
        <a:accent3>
          <a:srgbClr val="FFFFFF"/>
        </a:accent3>
        <a:accent4>
          <a:srgbClr val="000000"/>
        </a:accent4>
        <a:accent5>
          <a:srgbClr val="C3EBAA"/>
        </a:accent5>
        <a:accent6>
          <a:srgbClr val="002D3D"/>
        </a:accent6>
        <a:hlink>
          <a:srgbClr val="993399"/>
        </a:hlink>
        <a:folHlink>
          <a:srgbClr val="00AA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5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DDCC66"/>
        </a:accent1>
        <a:accent2>
          <a:srgbClr val="003344"/>
        </a:accent2>
        <a:accent3>
          <a:srgbClr val="FFFFFF"/>
        </a:accent3>
        <a:accent4>
          <a:srgbClr val="000000"/>
        </a:accent4>
        <a:accent5>
          <a:srgbClr val="EBE2B8"/>
        </a:accent5>
        <a:accent6>
          <a:srgbClr val="002D3D"/>
        </a:accent6>
        <a:hlink>
          <a:srgbClr val="557799"/>
        </a:hlink>
        <a:folHlink>
          <a:srgbClr val="9922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6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FF9900"/>
        </a:accent1>
        <a:accent2>
          <a:srgbClr val="003344"/>
        </a:accent2>
        <a:accent3>
          <a:srgbClr val="FFFFFF"/>
        </a:accent3>
        <a:accent4>
          <a:srgbClr val="000000"/>
        </a:accent4>
        <a:accent5>
          <a:srgbClr val="FFCAAA"/>
        </a:accent5>
        <a:accent6>
          <a:srgbClr val="002D3D"/>
        </a:accent6>
        <a:hlink>
          <a:srgbClr val="557799"/>
        </a:hlink>
        <a:folHlink>
          <a:srgbClr val="66AA4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7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DD4411"/>
        </a:accent1>
        <a:accent2>
          <a:srgbClr val="003344"/>
        </a:accent2>
        <a:accent3>
          <a:srgbClr val="FFFFFF"/>
        </a:accent3>
        <a:accent4>
          <a:srgbClr val="000000"/>
        </a:accent4>
        <a:accent5>
          <a:srgbClr val="EBB0AA"/>
        </a:accent5>
        <a:accent6>
          <a:srgbClr val="002D3D"/>
        </a:accent6>
        <a:hlink>
          <a:srgbClr val="66AA44"/>
        </a:hlink>
        <a:folHlink>
          <a:srgbClr val="EEAA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8">
        <a:dk1>
          <a:srgbClr val="000000"/>
        </a:dk1>
        <a:lt1>
          <a:srgbClr val="FFFFFF"/>
        </a:lt1>
        <a:dk2>
          <a:srgbClr val="003344"/>
        </a:dk2>
        <a:lt2>
          <a:srgbClr val="666666"/>
        </a:lt2>
        <a:accent1>
          <a:srgbClr val="BBBB00"/>
        </a:accent1>
        <a:accent2>
          <a:srgbClr val="992222"/>
        </a:accent2>
        <a:accent3>
          <a:srgbClr val="FFFFFF"/>
        </a:accent3>
        <a:accent4>
          <a:srgbClr val="000000"/>
        </a:accent4>
        <a:accent5>
          <a:srgbClr val="DADAAA"/>
        </a:accent5>
        <a:accent6>
          <a:srgbClr val="8A1E1E"/>
        </a:accent6>
        <a:hlink>
          <a:srgbClr val="445511"/>
        </a:hlink>
        <a:folHlink>
          <a:srgbClr val="0088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ccenture Finance and Accounting BPO Services_v5_e 9">
        <a:dk1>
          <a:srgbClr val="000000"/>
        </a:dk1>
        <a:lt1>
          <a:srgbClr val="FFFFFF"/>
        </a:lt1>
        <a:dk2>
          <a:srgbClr val="DD4411"/>
        </a:dk2>
        <a:lt2>
          <a:srgbClr val="666666"/>
        </a:lt2>
        <a:accent1>
          <a:srgbClr val="BBBB00"/>
        </a:accent1>
        <a:accent2>
          <a:srgbClr val="445511"/>
        </a:accent2>
        <a:accent3>
          <a:srgbClr val="FFFFFF"/>
        </a:accent3>
        <a:accent4>
          <a:srgbClr val="000000"/>
        </a:accent4>
        <a:accent5>
          <a:srgbClr val="DADAAA"/>
        </a:accent5>
        <a:accent6>
          <a:srgbClr val="3D4C0E"/>
        </a:accent6>
        <a:hlink>
          <a:srgbClr val="77AA99"/>
        </a:hlink>
        <a:folHlink>
          <a:srgbClr val="0088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General Contribution" ma:contentTypeID="0x012000FD200C85A7BB46D2B974A85017C5AC2B010064C715B8F48BE144A3D3DAD0A982F91D" ma:contentTypeVersion="0" ma:contentTypeDescription="General Contribution" ma:contentTypeScope="" ma:versionID="a47f92b2dc560f52703bbe9e6031ba95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acd3325a35efd330db3b7805d807500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Abstract" minOccurs="0"/>
                <xsd:element ref="ns1:ItemType" minOccurs="0"/>
                <xsd:element ref="ns1:ContentCurrentDate" minOccurs="0"/>
                <xsd:element ref="ns1:Contacts" minOccurs="0"/>
                <xsd:element ref="ns1:ArchiveDate" minOccurs="0"/>
                <xsd:element ref="ns1:ArchivalDate" minOccurs="0"/>
                <xsd:element ref="ns1:ApprovedForUseBy" minOccurs="0"/>
                <xsd:element ref="ns1:ArchiveStatus" minOccurs="0"/>
                <xsd:element ref="ns1:BusinessFunctionKeywords" minOccurs="0"/>
                <xsd:element ref="ns1:Client" minOccurs="0"/>
                <xsd:element ref="ns1:EngagementLink" minOccurs="0"/>
                <xsd:element ref="ns1:ConditionsforUse" minOccurs="0"/>
                <xsd:element ref="ns1:ConditionsforUseComments" minOccurs="0"/>
                <xsd:element ref="ns1:DeliveryCenter" minOccurs="0"/>
                <xsd:element ref="ns1:DetailsPageURL" minOccurs="0"/>
                <xsd:element ref="ns1:DetailsPageURL2" minOccurs="0"/>
                <xsd:element ref="ns1:IndustryKeywords" minOccurs="0"/>
                <xsd:element ref="ns1:ContribKeywords" minOccurs="0"/>
                <xsd:element ref="ns1:ContribLanguage" minOccurs="0"/>
                <xsd:element ref="ns1:TechnologyKeywords" minOccurs="0"/>
                <xsd:element ref="ns1:StorageType" minOccurs="0"/>
                <xsd:element ref="ns1:VendorProductKeywords" minOccurs="0"/>
                <xsd:element ref="ns1:Offerings" minOccurs="0"/>
                <xsd:element ref="ns1:PertinentToOrgUnit" minOccurs="0"/>
                <xsd:element ref="ns1:PertinentToCountry" minOccurs="0"/>
                <xsd:element ref="ns1:RevisionTime" minOccurs="0"/>
                <xsd:element ref="ns1:RevisionBy" minOccurs="0"/>
                <xsd:element ref="ns1:flagVVID" minOccurs="0"/>
                <xsd:element ref="ns1:DateCreated" minOccurs="0"/>
                <xsd:element ref="ns1:SubmittedBy" minOccurs="0"/>
                <xsd:element ref="ns1:KXGeography" minOccurs="0"/>
                <xsd:element ref="ns1:HasAttachment" minOccurs="0"/>
                <xsd:element ref="ns1:VisibleToAsset" minOccurs="0"/>
                <xsd:element ref="ns1:OfficialAsset" minOccurs="0"/>
                <xsd:element ref="ns1:SourceType" minOccurs="0"/>
                <xsd:element ref="ns1:RestrictedClient" minOccurs="0"/>
                <xsd:element ref="ns1:KXThumbnailURL" minOccurs="0"/>
                <xsd:element ref="ns1:OpportunityCharacteristics" minOccurs="0"/>
                <xsd:element ref="ns1:RelatedContent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Abstract" ma:index="3" nillable="true" ma:displayName="Description" ma:internalName="Abstract">
      <xsd:simpleType>
        <xsd:restriction base="dms:Note">
          <xsd:maxLength value="6"/>
        </xsd:restriction>
      </xsd:simpleType>
    </xsd:element>
    <xsd:element name="ItemType" ma:index="4" nillable="true" ma:displayName="Item Type" ma:internalName="ItemType">
      <xsd:simpleType>
        <xsd:restriction base="dms:Note"/>
      </xsd:simpleType>
    </xsd:element>
    <xsd:element name="ContentCurrentDate" ma:index="5" nillable="true" ma:displayName="Content Current Date" ma:default="[today]" ma:format="DateOnly" ma:internalName="ContentCurrentDate">
      <xsd:simpleType>
        <xsd:restriction base="dms:DateTime"/>
      </xsd:simpleType>
    </xsd:element>
    <xsd:element name="Contacts" ma:index="6" nillable="true" ma:displayName="Contacts" ma:internalName="Contacts">
      <xsd:simpleType>
        <xsd:restriction base="dms:Note"/>
      </xsd:simpleType>
    </xsd:element>
    <xsd:element name="ArchiveDate" ma:index="7" nillable="true" ma:displayName="Expiration Date" ma:format="DateOnly" ma:internalName="ArchiveDate">
      <xsd:simpleType>
        <xsd:restriction base="dms:DateTime"/>
      </xsd:simpleType>
    </xsd:element>
    <xsd:element name="ArchivalDate" ma:index="8" nillable="true" ma:displayName="Archival Date" ma:description="Check if contribution has expired." ma:format="DateOnly" ma:internalName="ArchivalDate">
      <xsd:simpleType>
        <xsd:restriction base="dms:DateTime"/>
      </xsd:simpleType>
    </xsd:element>
    <xsd:element name="ApprovedForUseBy" ma:index="9" nillable="true" ma:displayName="Reviewing Groups" ma:internalName="ApprovedForUseBy">
      <xsd:simpleType>
        <xsd:restriction base="dms:Note"/>
      </xsd:simpleType>
    </xsd:element>
    <xsd:element name="ArchiveStatus" ma:index="10" nillable="true" ma:displayName="Status" ma:internalName="ArchiveStatus">
      <xsd:simpleType>
        <xsd:restriction base="dms:Text"/>
      </xsd:simpleType>
    </xsd:element>
    <xsd:element name="BusinessFunctionKeywords" ma:index="11" nillable="true" ma:displayName="Business Processes &amp; Services" ma:internalName="BusinessFunctionKeywords">
      <xsd:simpleType>
        <xsd:restriction base="dms:Note"/>
      </xsd:simpleType>
    </xsd:element>
    <xsd:element name="Client" ma:index="12" nillable="true" ma:displayName="Client" ma:internalName="Client">
      <xsd:simpleType>
        <xsd:restriction base="dms:Note"/>
      </xsd:simpleType>
    </xsd:element>
    <xsd:element name="EngagementLink" ma:index="13" nillable="true" ma:displayName="Engagement Link" ma:internalName="EngagementLink">
      <xsd:simpleType>
        <xsd:restriction base="dms:Note"/>
      </xsd:simpleType>
    </xsd:element>
    <xsd:element name="ConditionsforUse" ma:index="14" nillable="true" ma:displayName="Usage Restriction" ma:internalName="ConditionsforUse">
      <xsd:simpleType>
        <xsd:restriction base="dms:Text"/>
      </xsd:simpleType>
    </xsd:element>
    <xsd:element name="ConditionsforUseComments" ma:index="15" nillable="true" ma:displayName="Usage Restriction Comments" ma:internalName="ConditionsforUseComments">
      <xsd:simpleType>
        <xsd:restriction base="dms:Note"/>
      </xsd:simpleType>
    </xsd:element>
    <xsd:element name="DeliveryCenter" ma:index="16" nillable="true" ma:displayName="Delivery Center" ma:internalName="DeliveryCenter">
      <xsd:simpleType>
        <xsd:restriction base="dms:Note"/>
      </xsd:simpleType>
    </xsd:element>
    <xsd:element name="DetailsPageURL" ma:index="17" nillable="true" ma:displayName="Details Page URL" ma:internalName="DetailsPageURL">
      <xsd:simpleType>
        <xsd:restriction base="dms:Note"/>
      </xsd:simpleType>
    </xsd:element>
    <xsd:element name="DetailsPageURL2" ma:index="18" nillable="true" ma:displayName="Details Page URL2" ma:internalName="DetailsPageURL2">
      <xsd:simpleType>
        <xsd:restriction base="dms:Text"/>
      </xsd:simpleType>
    </xsd:element>
    <xsd:element name="IndustryKeywords" ma:index="19" nillable="true" ma:displayName="Business &amp; Industries" ma:internalName="IndustryKeywords">
      <xsd:simpleType>
        <xsd:restriction base="dms:Note"/>
      </xsd:simpleType>
    </xsd:element>
    <xsd:element name="ContribKeywords" ma:index="20" nillable="true" ma:displayName="Content Manager Keywords" ma:internalName="ContribKeywords">
      <xsd:simpleType>
        <xsd:restriction base="dms:Note"/>
      </xsd:simpleType>
    </xsd:element>
    <xsd:element name="ContribLanguage" ma:index="21" nillable="true" ma:displayName="Language" ma:internalName="ContribLanguage">
      <xsd:simpleType>
        <xsd:restriction base="dms:Note"/>
      </xsd:simpleType>
    </xsd:element>
    <xsd:element name="TechnologyKeywords" ma:index="22" nillable="true" ma:displayName="Technologies" ma:internalName="TechnologyKeywords">
      <xsd:simpleType>
        <xsd:restriction base="dms:Note"/>
      </xsd:simpleType>
    </xsd:element>
    <xsd:element name="StorageType" ma:index="23" nillable="true" ma:displayName="Storage Type" ma:internalName="StorageType">
      <xsd:simpleType>
        <xsd:restriction base="dms:Text"/>
      </xsd:simpleType>
    </xsd:element>
    <xsd:element name="VendorProductKeywords" ma:index="24" nillable="true" ma:displayName="Vendors" ma:internalName="VendorProductKeywords">
      <xsd:simpleType>
        <xsd:restriction base="dms:Note"/>
      </xsd:simpleType>
    </xsd:element>
    <xsd:element name="Offerings" ma:index="25" nillable="true" ma:displayName="Offerings" ma:internalName="Offerings">
      <xsd:simpleType>
        <xsd:restriction base="dms:Note"/>
      </xsd:simpleType>
    </xsd:element>
    <xsd:element name="PertinentToOrgUnit" ma:index="26" nillable="true" ma:displayName="Accenture Organizations" ma:internalName="PertinentToOrgUnit">
      <xsd:simpleType>
        <xsd:restriction base="dms:Note"/>
      </xsd:simpleType>
    </xsd:element>
    <xsd:element name="PertinentToCountry" ma:index="27" nillable="true" ma:displayName="Countries" ma:internalName="PertinentToCountry">
      <xsd:simpleType>
        <xsd:restriction base="dms:Note"/>
      </xsd:simpleType>
    </xsd:element>
    <xsd:element name="RevisionTime" ma:index="28" nillable="true" ma:displayName="Revision Time" ma:internalName="RevisionTime">
      <xsd:simpleType>
        <xsd:restriction base="dms:Note"/>
      </xsd:simpleType>
    </xsd:element>
    <xsd:element name="RevisionBy" ma:index="29" nillable="true" ma:displayName="Revision By" ma:internalName="RevisionBy">
      <xsd:simpleType>
        <xsd:restriction base="dms:Note"/>
      </xsd:simpleType>
    </xsd:element>
    <xsd:element name="flagVVID" ma:index="30" nillable="true" ma:displayName="flagVVID" ma:internalName="flagVVID">
      <xsd:simpleType>
        <xsd:restriction base="dms:Text"/>
      </xsd:simpleType>
    </xsd:element>
    <xsd:element name="DateCreated" ma:index="31" nillable="true" ma:displayName="Date Created" ma:internalName="DateCreated">
      <xsd:simpleType>
        <xsd:restriction base="dms:DateTime"/>
      </xsd:simpleType>
    </xsd:element>
    <xsd:element name="SubmittedBy" ma:index="32" nillable="true" ma:displayName="Submitted By" ma:internalName="SubmittedBy">
      <xsd:simpleType>
        <xsd:restriction base="dms:Text"/>
      </xsd:simpleType>
    </xsd:element>
    <xsd:element name="KXGeography" ma:index="33" nillable="true" ma:displayName="KXGeography" ma:internalName="KXGeography">
      <xsd:simpleType>
        <xsd:restriction base="dms:Note"/>
      </xsd:simpleType>
    </xsd:element>
    <xsd:element name="HasAttachment" ma:index="34" nillable="true" ma:displayName="Has Attachment" ma:description="Check if contribution has attachment." ma:internalName="HasAttachment">
      <xsd:simpleType>
        <xsd:restriction base="dms:Text"/>
      </xsd:simpleType>
    </xsd:element>
    <xsd:element name="VisibleToAsset" ma:index="35" nillable="true" ma:displayName="Visible To Asset" ma:internalName="VisibleToAsset">
      <xsd:simpleType>
        <xsd:restriction base="dms:Text"/>
      </xsd:simpleType>
    </xsd:element>
    <xsd:element name="OfficialAsset" ma:index="36" nillable="true" ma:displayName="Official Asset" ma:internalName="OfficialAsset">
      <xsd:simpleType>
        <xsd:restriction base="dms:Text"/>
      </xsd:simpleType>
    </xsd:element>
    <xsd:element name="SourceType" ma:index="37" nillable="true" ma:displayName="SourceType" ma:internalName="SourceType">
      <xsd:simpleType>
        <xsd:restriction base="dms:Text"/>
      </xsd:simpleType>
    </xsd:element>
    <xsd:element name="RestrictedClient" ma:index="38" nillable="true" ma:displayName="Confidential Client" ma:internalName="RestrictedClient">
      <xsd:simpleType>
        <xsd:restriction base="dms:Text"/>
      </xsd:simpleType>
    </xsd:element>
    <xsd:element name="KXThumbnailURL" ma:index="39" nillable="true" ma:displayName="KX Thumbnail URL" ma:internalName="KXThumbnailURL">
      <xsd:simpleType>
        <xsd:restriction base="dms:Note"/>
      </xsd:simpleType>
    </xsd:element>
    <xsd:element name="OpportunityCharacteristics" ma:index="40" nillable="true" ma:displayName="Opportunity Characteristics" ma:internalName="OpportunityCharacteristics">
      <xsd:simpleType>
        <xsd:restriction base="dms:Note"/>
      </xsd:simpleType>
    </xsd:element>
    <xsd:element name="RelatedContent" ma:index="41" nillable="true" ma:displayName="Related Content" ma:internalName="RelatedContent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ListForm</Display>
  <Edit>ListForm</Edit>
  <New>ListForm</New>
</FormTemplates>
</file>

<file path=customXml/item3.xml><?xml version="1.0" encoding="utf-8"?>
<p:properties xmlns:p="http://schemas.microsoft.com/office/2006/metadata/properties" xmlns:xsi="http://www.w3.org/2001/XMLSchema-instance">
  <documentManagement>
    <ArchiveDate xmlns="http://schemas.microsoft.com/sharepoint/v3">2017-08-13T05:00:00+00:00</ArchiveDate>
    <EngagementLink xmlns="http://schemas.microsoft.com/sharepoint/v3" xsi:nil="true"/>
    <PertinentToCountry xmlns="http://schemas.microsoft.com/sharepoint/v3" xsi:nil="true"/>
    <Client xmlns="http://schemas.microsoft.com/sharepoint/v3" xsi:nil="true"/>
    <flagVVID xmlns="http://schemas.microsoft.com/sharepoint/v3" xsi:nil="true"/>
    <Abstract xmlns="http://schemas.microsoft.com/sharepoint/v3">&lt;p&gt;Analysis of the competitor landscpe in DevOps-related services.&lt;/p&gt;</Abstract>
    <ContentCurrentDate xmlns="http://schemas.microsoft.com/sharepoint/v3">2015-08-13T05:00:00+00:00</ContentCurrentDate>
    <DateCreated xmlns="http://schemas.microsoft.com/sharepoint/v3">2015-08-13T11:37:17+00:00</DateCreated>
    <OfficialAsset xmlns="http://schemas.microsoft.com/sharepoint/v3">No</OfficialAsset>
    <ArchiveStatus xmlns="http://schemas.microsoft.com/sharepoint/v3">Active</ArchiveStatus>
    <IndustryKeywords xmlns="http://schemas.microsoft.com/sharepoint/v3">;#323;~Capital Markets</IndustryKeywords>
    <VendorProductKeywords xmlns="http://schemas.microsoft.com/sharepoint/v3">;#0;~None</VendorProductKeywords>
    <RevisionTime xmlns="http://schemas.microsoft.com/sharepoint/v3">3/7/2016 8:01:08 AM&lt;br&gt;2/26/2016 11:31:01 PM&lt;br&gt;1/25/2016 3:41:35 AM&lt;br&gt;10/9/2015 5:30:02 AM&lt;br&gt;8/13/2015 6:37:17 AM</RevisionTime>
    <Contacts xmlns="http://schemas.microsoft.com/sharepoint/v3">dir\douglas.t.hayward,dir\jai.bagmar</Contacts>
    <ItemType xmlns="http://schemas.microsoft.com/sharepoint/v3">;#13991;~Marketing and Sales Material</ItemType>
    <Offerings xmlns="http://schemas.microsoft.com/sharepoint/v3">;#11414;~Accenture Technology;#14435;~    OF-002547 - DevOps</Offerings>
    <ApprovedForUseBy xmlns="http://schemas.microsoft.com/sharepoint/v3">;#32;~Financial Services</ApprovedForUseBy>
    <SubmittedBy xmlns="http://schemas.microsoft.com/sharepoint/v3">dir\douglas.t.hayward</SubmittedBy>
    <HasAttachment xmlns="http://schemas.microsoft.com/sharepoint/v3">No</HasAttachment>
    <ArchivalDate xmlns="http://schemas.microsoft.com/sharepoint/v3" xsi:nil="true"/>
    <DeliveryCenter xmlns="http://schemas.microsoft.com/sharepoint/v3" xsi:nil="true"/>
    <ContribKeywords xmlns="http://schemas.microsoft.com/sharepoint/v3">;#14810;~AS Gateway;#14902;~ASG Artifact Types;#14938;~ Point of view;#14939;~ Standards and Guidelines;#14947;~ Tools Assets and Accelerators;#14903;~ASG Themes</ContribKeywords>
    <StorageType xmlns="http://schemas.microsoft.com/sharepoint/v3">File</StorageType>
    <RevisionBy xmlns="http://schemas.microsoft.com/sharepoint/v3">dir\k.dasgupta&lt;br&gt;dir\vidhya.dayanand.pai&lt;br&gt;dir\aravind.moturi&lt;br&gt;dir\saloni.mahapatra&lt;br&gt;dir\douglas.t.hayward</RevisionBy>
    <VisibleToAsset xmlns="http://schemas.microsoft.com/sharepoint/v3" xsi:nil="true"/>
    <BusinessFunctionKeywords xmlns="http://schemas.microsoft.com/sharepoint/v3">;#0;~None</BusinessFunctionKeywords>
    <ConditionsforUse xmlns="http://schemas.microsoft.com/sharepoint/v3">Accenture Internal Use Only</ConditionsforUse>
    <DetailsPageURL2 xmlns="http://schemas.microsoft.com/sharepoint/v3">https://kx.accenture.com/repositories/DownloadForm.aspx?path=C32/13/14/DevOps_ADM_Competr_Overview_Series_July_2015%20for%20posting.pptx</DetailsPageURL2>
    <KXGeography xmlns="http://schemas.microsoft.com/sharepoint/v3">;#9494;~Global</KXGeography>
    <ConditionsforUseComments xmlns="http://schemas.microsoft.com/sharepoint/v3" xsi:nil="true"/>
    <TechnologyKeywords xmlns="http://schemas.microsoft.com/sharepoint/v3">;#13122;~Agile;#14624;~Open Source;#8709;~Technology Architecture</TechnologyKeywords>
    <PertinentToOrgUnit xmlns="http://schemas.microsoft.com/sharepoint/v3">;#6882;~Business Operations &amp; Services</PertinentToOrgUnit>
    <DetailsPageURL xmlns="http://schemas.microsoft.com/sharepoint/v3">https://kx.accenture.com/repositories/ContributionForm.aspx?path=C32/13/14&amp;mode=Read</DetailsPageURL>
    <ContribLanguage xmlns="http://schemas.microsoft.com/sharepoint/v3">;#4628;~English</ContribLanguage>
    <RelatedContent xmlns="http://schemas.microsoft.com/sharepoint/v3" xsi:nil="true"/>
    <KXThumbnailURL xmlns="http://schemas.microsoft.com/sharepoint/v3">https://documentpreviews.accenture.com/_vti_bin/Longitude5/DocumentViewerService.svc/getResource/?resourceKey=https%3A%2F%2Fkx.accenture.com%2FRepositories%2FC32%2F13%2F14%2FDevOps_ADM_Competr_Overview_Series_July_2015%20for%20posting.pptx@_pc!res_~1@_pc!res_~False@_pc!res_~http@_pc!res_~0@_pc!res_~120@_pc!res_~120</KXThumbnailURL>
    <SourceType xmlns="http://schemas.microsoft.com/sharepoint/v3">ContributionForm</SourceType>
    <RestrictedClient xmlns="http://schemas.microsoft.com/sharepoint/v3" xsi:nil="true"/>
    <OpportunityCharacteristic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881E9163-517C-4240-A811-CFF405F822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86982C6D-8243-4DE1-97E2-DC27C11BB93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C3787D1-74DD-488B-A34D-AA446A003F34}">
  <ds:schemaRefs>
    <ds:schemaRef ds:uri="http://schemas.microsoft.com/office/2006/documentManagement/types"/>
    <ds:schemaRef ds:uri="http://schemas.microsoft.com/office/2006/metadata/properties"/>
    <ds:schemaRef ds:uri="http://purl.org/dc/dcmitype/"/>
    <ds:schemaRef ds:uri="http://purl.org/dc/terms/"/>
    <ds:schemaRef ds:uri="http://purl.org/dc/elements/1.1/"/>
    <ds:schemaRef ds:uri="http://www.w3.org/XML/1998/namespace"/>
    <ds:schemaRef ds:uri="http://schemas.openxmlformats.org/package/2006/metadata/core-properties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483392_BPO_navigation_2007_3a</Template>
  <TotalTime>25260</TotalTime>
  <Words>740</Words>
  <Application>Microsoft Office PowerPoint</Application>
  <PresentationFormat>On-screen Show (4:3)</PresentationFormat>
  <Paragraphs>139</Paragraphs>
  <Slides>21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3" baseType="lpstr">
      <vt:lpstr>483392_BPO_navigation_2007_3a</vt:lpstr>
      <vt:lpstr>think-cell Slide</vt:lpstr>
      <vt:lpstr>DevOps Project Simulation</vt:lpstr>
      <vt:lpstr>PowerPoint Presentation</vt:lpstr>
      <vt:lpstr>CONTENTS</vt:lpstr>
      <vt:lpstr>Description of Roles</vt:lpstr>
      <vt:lpstr>Work plan </vt:lpstr>
      <vt:lpstr>What is DevOps? </vt:lpstr>
      <vt:lpstr>Introduction</vt:lpstr>
      <vt:lpstr>Overview of Tool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EMO</vt:lpstr>
      <vt:lpstr>CARTRIDGE</vt:lpstr>
      <vt:lpstr>CARTRIDGE</vt:lpstr>
      <vt:lpstr>CARTRIDGE</vt:lpstr>
    </vt:vector>
  </TitlesOfParts>
  <Company>Schawk, Inc. (US Creative Services)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Ops Application Services Landscape</dc:title>
  <dc:creator>Rebecca Gorse</dc:creator>
  <cp:lastModifiedBy>Robles, Joey Ann O.</cp:lastModifiedBy>
  <cp:revision>1237</cp:revision>
  <cp:lastPrinted>2015-07-27T10:13:26Z</cp:lastPrinted>
  <dcterms:created xsi:type="dcterms:W3CDTF">2009-11-13T22:24:39Z</dcterms:created>
  <dcterms:modified xsi:type="dcterms:W3CDTF">2016-09-16T00:34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36643</vt:lpwstr>
  </property>
  <property fmtid="{D5CDD505-2E9C-101B-9397-08002B2CF9AE}" pid="3" name="NXPowerLiteSettings">
    <vt:lpwstr>F6000400038000</vt:lpwstr>
  </property>
  <property fmtid="{D5CDD505-2E9C-101B-9397-08002B2CF9AE}" pid="4" name="NXPowerLiteVersion">
    <vt:lpwstr>D4.3.1</vt:lpwstr>
  </property>
  <property fmtid="{D5CDD505-2E9C-101B-9397-08002B2CF9AE}" pid="5" name="ContentTypeId">
    <vt:lpwstr>0x012000FD200C85A7BB46D2B974A85017C5AC2B010064C715B8F48BE144A3D3DAD0A982F91D</vt:lpwstr>
  </property>
  <property fmtid="{D5CDD505-2E9C-101B-9397-08002B2CF9AE}" pid="6" name="FederalData">
    <vt:lpwstr>No</vt:lpwstr>
  </property>
</Properties>
</file>